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9"/>
  </p:notesMasterIdLst>
  <p:sldIdLst>
    <p:sldId id="3680" r:id="rId2"/>
    <p:sldId id="3706" r:id="rId3"/>
    <p:sldId id="2141412243" r:id="rId4"/>
    <p:sldId id="2141412246" r:id="rId5"/>
    <p:sldId id="2141412244" r:id="rId6"/>
    <p:sldId id="2141412245" r:id="rId7"/>
    <p:sldId id="2141412247"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8BED73-408C-4A8A-924A-0065686DE032}" v="4" dt="2022-11-19T20:51:07.4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0"/>
    <p:restoredTop sz="95794"/>
  </p:normalViewPr>
  <p:slideViewPr>
    <p:cSldViewPr snapToGrid="0">
      <p:cViewPr varScale="1">
        <p:scale>
          <a:sx n="77" d="100"/>
          <a:sy n="77" d="100"/>
        </p:scale>
        <p:origin x="316" y="7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enie De Nichilo" userId="6a1be870-36e4-4035-b184-dfb279dfe535" providerId="ADAL" clId="{538BED73-408C-4A8A-924A-0065686DE032}"/>
    <pc:docChg chg="undo custSel addSld delSld modSld">
      <pc:chgData name="Stephenie De Nichilo" userId="6a1be870-36e4-4035-b184-dfb279dfe535" providerId="ADAL" clId="{538BED73-408C-4A8A-924A-0065686DE032}" dt="2022-11-19T20:53:06.702" v="683" actId="14100"/>
      <pc:docMkLst>
        <pc:docMk/>
      </pc:docMkLst>
      <pc:sldChg chg="del">
        <pc:chgData name="Stephenie De Nichilo" userId="6a1be870-36e4-4035-b184-dfb279dfe535" providerId="ADAL" clId="{538BED73-408C-4A8A-924A-0065686DE032}" dt="2022-11-19T20:50:19.352" v="649" actId="47"/>
        <pc:sldMkLst>
          <pc:docMk/>
          <pc:sldMk cId="1019990160" sldId="679"/>
        </pc:sldMkLst>
      </pc:sldChg>
      <pc:sldChg chg="del">
        <pc:chgData name="Stephenie De Nichilo" userId="6a1be870-36e4-4035-b184-dfb279dfe535" providerId="ADAL" clId="{538BED73-408C-4A8A-924A-0065686DE032}" dt="2022-11-19T20:50:21.116" v="652" actId="47"/>
        <pc:sldMkLst>
          <pc:docMk/>
          <pc:sldMk cId="3385336007" sldId="3670"/>
        </pc:sldMkLst>
      </pc:sldChg>
      <pc:sldChg chg="del">
        <pc:chgData name="Stephenie De Nichilo" userId="6a1be870-36e4-4035-b184-dfb279dfe535" providerId="ADAL" clId="{538BED73-408C-4A8A-924A-0065686DE032}" dt="2022-11-19T20:50:20.551" v="651" actId="47"/>
        <pc:sldMkLst>
          <pc:docMk/>
          <pc:sldMk cId="1125271207" sldId="3704"/>
        </pc:sldMkLst>
      </pc:sldChg>
      <pc:sldChg chg="del">
        <pc:chgData name="Stephenie De Nichilo" userId="6a1be870-36e4-4035-b184-dfb279dfe535" providerId="ADAL" clId="{538BED73-408C-4A8A-924A-0065686DE032}" dt="2022-11-19T20:50:20.017" v="650" actId="47"/>
        <pc:sldMkLst>
          <pc:docMk/>
          <pc:sldMk cId="3139912187" sldId="3707"/>
        </pc:sldMkLst>
      </pc:sldChg>
      <pc:sldChg chg="del">
        <pc:chgData name="Stephenie De Nichilo" userId="6a1be870-36e4-4035-b184-dfb279dfe535" providerId="ADAL" clId="{538BED73-408C-4A8A-924A-0065686DE032}" dt="2022-11-19T20:50:18.613" v="648" actId="47"/>
        <pc:sldMkLst>
          <pc:docMk/>
          <pc:sldMk cId="636877932" sldId="2141412240"/>
        </pc:sldMkLst>
      </pc:sldChg>
      <pc:sldChg chg="del">
        <pc:chgData name="Stephenie De Nichilo" userId="6a1be870-36e4-4035-b184-dfb279dfe535" providerId="ADAL" clId="{538BED73-408C-4A8A-924A-0065686DE032}" dt="2022-11-19T20:50:21.586" v="653" actId="47"/>
        <pc:sldMkLst>
          <pc:docMk/>
          <pc:sldMk cId="2594356671" sldId="2141412242"/>
        </pc:sldMkLst>
      </pc:sldChg>
      <pc:sldChg chg="addSp modSp mod">
        <pc:chgData name="Stephenie De Nichilo" userId="6a1be870-36e4-4035-b184-dfb279dfe535" providerId="ADAL" clId="{538BED73-408C-4A8A-924A-0065686DE032}" dt="2022-11-19T20:39:47.530" v="41" actId="313"/>
        <pc:sldMkLst>
          <pc:docMk/>
          <pc:sldMk cId="2340874187" sldId="2141412244"/>
        </pc:sldMkLst>
        <pc:spChg chg="mod">
          <ac:chgData name="Stephenie De Nichilo" userId="6a1be870-36e4-4035-b184-dfb279dfe535" providerId="ADAL" clId="{538BED73-408C-4A8A-924A-0065686DE032}" dt="2022-11-19T20:39:47.530" v="41" actId="313"/>
          <ac:spMkLst>
            <pc:docMk/>
            <pc:sldMk cId="2340874187" sldId="2141412244"/>
            <ac:spMk id="4" creationId="{074B88FC-3A20-59DB-81AA-E3E71D5F6E60}"/>
          </ac:spMkLst>
        </pc:spChg>
        <pc:spChg chg="mod">
          <ac:chgData name="Stephenie De Nichilo" userId="6a1be870-36e4-4035-b184-dfb279dfe535" providerId="ADAL" clId="{538BED73-408C-4A8A-924A-0065686DE032}" dt="2022-11-19T20:38:38.317" v="29" actId="20577"/>
          <ac:spMkLst>
            <pc:docMk/>
            <pc:sldMk cId="2340874187" sldId="2141412244"/>
            <ac:spMk id="5" creationId="{81186F06-DACB-8390-FF4B-B7CFEE73F918}"/>
          </ac:spMkLst>
        </pc:spChg>
        <pc:spChg chg="mod">
          <ac:chgData name="Stephenie De Nichilo" userId="6a1be870-36e4-4035-b184-dfb279dfe535" providerId="ADAL" clId="{538BED73-408C-4A8A-924A-0065686DE032}" dt="2022-11-19T20:37:50.842" v="8" actId="1076"/>
          <ac:spMkLst>
            <pc:docMk/>
            <pc:sldMk cId="2340874187" sldId="2141412244"/>
            <ac:spMk id="6" creationId="{FEBD34C8-8004-F6A8-DC76-77A9523369BC}"/>
          </ac:spMkLst>
        </pc:spChg>
        <pc:spChg chg="add mod">
          <ac:chgData name="Stephenie De Nichilo" userId="6a1be870-36e4-4035-b184-dfb279dfe535" providerId="ADAL" clId="{538BED73-408C-4A8A-924A-0065686DE032}" dt="2022-11-19T20:38:41.333" v="30" actId="1076"/>
          <ac:spMkLst>
            <pc:docMk/>
            <pc:sldMk cId="2340874187" sldId="2141412244"/>
            <ac:spMk id="7" creationId="{30D29CC4-B6ED-4A4F-A9C6-D42FB14E5119}"/>
          </ac:spMkLst>
        </pc:spChg>
        <pc:spChg chg="add mod">
          <ac:chgData name="Stephenie De Nichilo" userId="6a1be870-36e4-4035-b184-dfb279dfe535" providerId="ADAL" clId="{538BED73-408C-4A8A-924A-0065686DE032}" dt="2022-11-19T20:38:44.501" v="31" actId="1076"/>
          <ac:spMkLst>
            <pc:docMk/>
            <pc:sldMk cId="2340874187" sldId="2141412244"/>
            <ac:spMk id="8" creationId="{397F337B-53BD-40A9-9237-31BD363A18F4}"/>
          </ac:spMkLst>
        </pc:spChg>
        <pc:spChg chg="add mod">
          <ac:chgData name="Stephenie De Nichilo" userId="6a1be870-36e4-4035-b184-dfb279dfe535" providerId="ADAL" clId="{538BED73-408C-4A8A-924A-0065686DE032}" dt="2022-11-19T20:38:49.933" v="33" actId="1076"/>
          <ac:spMkLst>
            <pc:docMk/>
            <pc:sldMk cId="2340874187" sldId="2141412244"/>
            <ac:spMk id="9" creationId="{CF383EBC-E77B-4D70-B601-080B0A080D5E}"/>
          </ac:spMkLst>
        </pc:spChg>
      </pc:sldChg>
      <pc:sldChg chg="addSp modSp mod">
        <pc:chgData name="Stephenie De Nichilo" userId="6a1be870-36e4-4035-b184-dfb279dfe535" providerId="ADAL" clId="{538BED73-408C-4A8A-924A-0065686DE032}" dt="2022-11-19T20:50:12.720" v="647" actId="20577"/>
        <pc:sldMkLst>
          <pc:docMk/>
          <pc:sldMk cId="1591384887" sldId="2141412245"/>
        </pc:sldMkLst>
        <pc:spChg chg="mod">
          <ac:chgData name="Stephenie De Nichilo" userId="6a1be870-36e4-4035-b184-dfb279dfe535" providerId="ADAL" clId="{538BED73-408C-4A8A-924A-0065686DE032}" dt="2022-11-19T20:42:47.966" v="118" actId="20577"/>
          <ac:spMkLst>
            <pc:docMk/>
            <pc:sldMk cId="1591384887" sldId="2141412245"/>
            <ac:spMk id="2" creationId="{365EC802-2ACB-04A7-DA56-6BF6DC279517}"/>
          </ac:spMkLst>
        </pc:spChg>
        <pc:spChg chg="mod">
          <ac:chgData name="Stephenie De Nichilo" userId="6a1be870-36e4-4035-b184-dfb279dfe535" providerId="ADAL" clId="{538BED73-408C-4A8A-924A-0065686DE032}" dt="2022-11-19T20:42:32.784" v="51" actId="20577"/>
          <ac:spMkLst>
            <pc:docMk/>
            <pc:sldMk cId="1591384887" sldId="2141412245"/>
            <ac:spMk id="3" creationId="{94FD6497-5032-AF1D-5AFE-B861E74A2B48}"/>
          </ac:spMkLst>
        </pc:spChg>
        <pc:spChg chg="mod">
          <ac:chgData name="Stephenie De Nichilo" userId="6a1be870-36e4-4035-b184-dfb279dfe535" providerId="ADAL" clId="{538BED73-408C-4A8A-924A-0065686DE032}" dt="2022-11-19T20:50:12.720" v="647" actId="20577"/>
          <ac:spMkLst>
            <pc:docMk/>
            <pc:sldMk cId="1591384887" sldId="2141412245"/>
            <ac:spMk id="4" creationId="{074B88FC-3A20-59DB-81AA-E3E71D5F6E60}"/>
          </ac:spMkLst>
        </pc:spChg>
        <pc:picChg chg="add mod">
          <ac:chgData name="Stephenie De Nichilo" userId="6a1be870-36e4-4035-b184-dfb279dfe535" providerId="ADAL" clId="{538BED73-408C-4A8A-924A-0065686DE032}" dt="2022-11-19T20:45:35.885" v="121" actId="1076"/>
          <ac:picMkLst>
            <pc:docMk/>
            <pc:sldMk cId="1591384887" sldId="2141412245"/>
            <ac:picMk id="6" creationId="{6F70D5A0-5568-4D82-8F1A-06BD255AD3F2}"/>
          </ac:picMkLst>
        </pc:picChg>
      </pc:sldChg>
      <pc:sldChg chg="addSp delSp modSp new mod">
        <pc:chgData name="Stephenie De Nichilo" userId="6a1be870-36e4-4035-b184-dfb279dfe535" providerId="ADAL" clId="{538BED73-408C-4A8A-924A-0065686DE032}" dt="2022-11-19T20:53:06.702" v="683" actId="14100"/>
        <pc:sldMkLst>
          <pc:docMk/>
          <pc:sldMk cId="3652290337" sldId="2141412247"/>
        </pc:sldMkLst>
        <pc:spChg chg="del">
          <ac:chgData name="Stephenie De Nichilo" userId="6a1be870-36e4-4035-b184-dfb279dfe535" providerId="ADAL" clId="{538BED73-408C-4A8A-924A-0065686DE032}" dt="2022-11-19T20:51:07.492" v="655"/>
          <ac:spMkLst>
            <pc:docMk/>
            <pc:sldMk cId="3652290337" sldId="2141412247"/>
            <ac:spMk id="2" creationId="{9B2E7206-5872-46AB-82AA-B61E17389A40}"/>
          </ac:spMkLst>
        </pc:spChg>
        <pc:spChg chg="mod">
          <ac:chgData name="Stephenie De Nichilo" userId="6a1be870-36e4-4035-b184-dfb279dfe535" providerId="ADAL" clId="{538BED73-408C-4A8A-924A-0065686DE032}" dt="2022-11-19T20:51:21.091" v="670" actId="20577"/>
          <ac:spMkLst>
            <pc:docMk/>
            <pc:sldMk cId="3652290337" sldId="2141412247"/>
            <ac:spMk id="4" creationId="{187847F9-52AC-42EE-8E28-8AF04E2110AF}"/>
          </ac:spMkLst>
        </pc:spChg>
        <pc:spChg chg="add mod">
          <ac:chgData name="Stephenie De Nichilo" userId="6a1be870-36e4-4035-b184-dfb279dfe535" providerId="ADAL" clId="{538BED73-408C-4A8A-924A-0065686DE032}" dt="2022-11-19T20:53:06.702" v="683" actId="14100"/>
          <ac:spMkLst>
            <pc:docMk/>
            <pc:sldMk cId="3652290337" sldId="2141412247"/>
            <ac:spMk id="7" creationId="{2C0A24B6-323B-4D6B-8378-0B4B10AC4F15}"/>
          </ac:spMkLst>
        </pc:spChg>
        <pc:picChg chg="add del mod">
          <ac:chgData name="Stephenie De Nichilo" userId="6a1be870-36e4-4035-b184-dfb279dfe535" providerId="ADAL" clId="{538BED73-408C-4A8A-924A-0065686DE032}" dt="2022-11-19T20:52:24.605" v="671" actId="478"/>
          <ac:picMkLst>
            <pc:docMk/>
            <pc:sldMk cId="3652290337" sldId="2141412247"/>
            <ac:picMk id="5" creationId="{9B3EEC9C-28C9-4DA7-9758-36AF7E5D5DFA}"/>
          </ac:picMkLst>
        </pc:picChg>
      </pc:sldChg>
      <pc:sldMasterChg chg="delSldLayout">
        <pc:chgData name="Stephenie De Nichilo" userId="6a1be870-36e4-4035-b184-dfb279dfe535" providerId="ADAL" clId="{538BED73-408C-4A8A-924A-0065686DE032}" dt="2022-11-19T20:50:18.613" v="648" actId="47"/>
        <pc:sldMasterMkLst>
          <pc:docMk/>
          <pc:sldMasterMk cId="2572361724" sldId="2147483660"/>
        </pc:sldMasterMkLst>
        <pc:sldLayoutChg chg="del">
          <pc:chgData name="Stephenie De Nichilo" userId="6a1be870-36e4-4035-b184-dfb279dfe535" providerId="ADAL" clId="{538BED73-408C-4A8A-924A-0065686DE032}" dt="2022-11-19T20:50:18.613" v="648" actId="47"/>
          <pc:sldLayoutMkLst>
            <pc:docMk/>
            <pc:sldMasterMk cId="2572361724" sldId="2147483660"/>
            <pc:sldLayoutMk cId="197809168" sldId="214748368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2CDAA9-885A-DF4D-8AAE-D4DFCB8C8CBB}" type="datetimeFigureOut">
              <a:rPr lang="en-US" smtClean="0"/>
              <a:t>11/20/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3F4D08-0F56-EB47-9771-76BF5FE9205C}" type="slidenum">
              <a:rPr lang="en-US" smtClean="0"/>
              <a:t>‹#›</a:t>
            </a:fld>
            <a:endParaRPr lang="en-US" dirty="0"/>
          </a:p>
        </p:txBody>
      </p:sp>
    </p:spTree>
    <p:extLst>
      <p:ext uri="{BB962C8B-B14F-4D97-AF65-F5344CB8AC3E}">
        <p14:creationId xmlns:p14="http://schemas.microsoft.com/office/powerpoint/2010/main" val="901739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jor External Title Slide Option 1">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7516422-48AF-E64C-B7A7-AD8F5C987E9C}"/>
              </a:ext>
            </a:extLst>
          </p:cNvPr>
          <p:cNvSpPr>
            <a:spLocks noGrp="1"/>
          </p:cNvSpPr>
          <p:nvPr>
            <p:ph type="pic" sz="quarter" idx="13"/>
          </p:nvPr>
        </p:nvSpPr>
        <p:spPr>
          <a:xfrm>
            <a:off x="0" y="0"/>
            <a:ext cx="12192000" cy="6858000"/>
          </a:xfrm>
          <a:prstGeom prst="rect">
            <a:avLst/>
          </a:prstGeom>
        </p:spPr>
        <p:txBody>
          <a:bodyPr anchor="t"/>
          <a:lstStyle>
            <a:lvl1pPr algn="l">
              <a:defRPr/>
            </a:lvl1pPr>
          </a:lstStyle>
          <a:p>
            <a:endParaRPr lang="en-US" dirty="0"/>
          </a:p>
        </p:txBody>
      </p:sp>
      <p:sp>
        <p:nvSpPr>
          <p:cNvPr id="2" name="Title 1">
            <a:extLst>
              <a:ext uri="{FF2B5EF4-FFF2-40B4-BE49-F238E27FC236}">
                <a16:creationId xmlns:a16="http://schemas.microsoft.com/office/drawing/2014/main" id="{894AFEAA-F18F-F949-91CB-1F9BE7162647}"/>
              </a:ext>
            </a:extLst>
          </p:cNvPr>
          <p:cNvSpPr>
            <a:spLocks noGrp="1"/>
          </p:cNvSpPr>
          <p:nvPr>
            <p:ph type="ctrTitle" hasCustomPrompt="1"/>
          </p:nvPr>
        </p:nvSpPr>
        <p:spPr>
          <a:xfrm>
            <a:off x="419390" y="1820438"/>
            <a:ext cx="6164284" cy="2387600"/>
          </a:xfrm>
          <a:prstGeom prst="rect">
            <a:avLst/>
          </a:prstGeom>
        </p:spPr>
        <p:txBody>
          <a:bodyPr anchor="b">
            <a:normAutofit/>
          </a:bodyPr>
          <a:lstStyle>
            <a:lvl1pPr algn="l">
              <a:defRPr sz="4200" b="0" i="0">
                <a:solidFill>
                  <a:schemeClr val="tx1"/>
                </a:solidFill>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E5E90C0F-F45F-0446-8D8B-3A0D1B304E85}"/>
              </a:ext>
            </a:extLst>
          </p:cNvPr>
          <p:cNvSpPr>
            <a:spLocks noGrp="1"/>
          </p:cNvSpPr>
          <p:nvPr>
            <p:ph type="subTitle" idx="1"/>
          </p:nvPr>
        </p:nvSpPr>
        <p:spPr>
          <a:xfrm>
            <a:off x="419390" y="4300113"/>
            <a:ext cx="6164284" cy="1655762"/>
          </a:xfrm>
          <a:prstGeom prst="rect">
            <a:avLst/>
          </a:prstGeom>
        </p:spPr>
        <p:txBody>
          <a:bodyPr>
            <a:normAutofit/>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36411055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ingle 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FEFE84-A11C-064B-94AA-8B509E826942}"/>
              </a:ext>
            </a:extLst>
          </p:cNvPr>
          <p:cNvSpPr>
            <a:spLocks noGrp="1"/>
          </p:cNvSpPr>
          <p:nvPr>
            <p:ph idx="1"/>
          </p:nvPr>
        </p:nvSpPr>
        <p:spPr>
          <a:xfrm>
            <a:off x="4589362" y="1092727"/>
            <a:ext cx="7292014" cy="5417611"/>
          </a:xfrm>
          <a:prstGeom prst="rect">
            <a:avLst/>
          </a:prstGeom>
        </p:spPr>
        <p:txBody>
          <a:bodyPr/>
          <a:lstStyle>
            <a:lvl1pPr marL="357188" indent="-357188">
              <a:lnSpc>
                <a:spcPct val="100000"/>
              </a:lnSpc>
              <a:spcBef>
                <a:spcPts val="300"/>
              </a:spcBef>
              <a:spcAft>
                <a:spcPts val="300"/>
              </a:spcAft>
              <a:buFont typeface="Apple Symbols" panose="02000000000000000000" pitchFamily="2" charset="-79"/>
              <a:buChar char="⎔"/>
              <a:tabLst/>
              <a:defRPr b="0" i="0">
                <a:latin typeface="Calibri" panose="020F0502020204030204" pitchFamily="34" charset="0"/>
                <a:cs typeface="Calibri" panose="020F0502020204030204" pitchFamily="34" charset="0"/>
              </a:defRPr>
            </a:lvl1pPr>
            <a:lvl2pPr>
              <a:lnSpc>
                <a:spcPct val="100000"/>
              </a:lnSpc>
              <a:spcBef>
                <a:spcPts val="300"/>
              </a:spcBef>
              <a:spcAft>
                <a:spcPts val="300"/>
              </a:spcAft>
              <a:defRPr b="0" i="0">
                <a:latin typeface="Calibri" panose="020F0502020204030204" pitchFamily="34" charset="0"/>
                <a:cs typeface="Calibri" panose="020F0502020204030204" pitchFamily="34" charset="0"/>
              </a:defRPr>
            </a:lvl2pPr>
            <a:lvl3pPr marL="1143000" indent="-228600">
              <a:lnSpc>
                <a:spcPct val="100000"/>
              </a:lnSpc>
              <a:spcBef>
                <a:spcPts val="300"/>
              </a:spcBef>
              <a:spcAft>
                <a:spcPts val="300"/>
              </a:spcAft>
              <a:buFont typeface="Cambria Math" panose="02040503050406030204" pitchFamily="18" charset="0"/>
              <a:buChar char="⎯"/>
              <a:defRPr b="0" i="0">
                <a:latin typeface="Calibri" panose="020F0502020204030204" pitchFamily="34" charset="0"/>
                <a:cs typeface="Calibri" panose="020F0502020204030204" pitchFamily="34" charset="0"/>
              </a:defRPr>
            </a:lvl3pPr>
            <a:lvl4pPr>
              <a:lnSpc>
                <a:spcPct val="100000"/>
              </a:lnSpc>
              <a:spcBef>
                <a:spcPts val="300"/>
              </a:spcBef>
              <a:spcAft>
                <a:spcPts val="300"/>
              </a:spcAft>
              <a:defRPr b="0" i="0">
                <a:latin typeface="Calibri" panose="020F0502020204030204" pitchFamily="34" charset="0"/>
                <a:cs typeface="Calibri" panose="020F0502020204030204" pitchFamily="34" charset="0"/>
              </a:defRPr>
            </a:lvl4pPr>
            <a:lvl5pPr>
              <a:lnSpc>
                <a:spcPct val="100000"/>
              </a:lnSpc>
              <a:spcBef>
                <a:spcPts val="300"/>
              </a:spcBef>
              <a:spcAft>
                <a:spcPts val="300"/>
              </a:spcAft>
              <a:defRPr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3">
            <a:extLst>
              <a:ext uri="{FF2B5EF4-FFF2-40B4-BE49-F238E27FC236}">
                <a16:creationId xmlns:a16="http://schemas.microsoft.com/office/drawing/2014/main" id="{1B00BCC7-F010-F240-9DCB-5D8AED1034BD}"/>
              </a:ext>
            </a:extLst>
          </p:cNvPr>
          <p:cNvSpPr/>
          <p:nvPr userDrawn="1"/>
        </p:nvSpPr>
        <p:spPr>
          <a:xfrm>
            <a:off x="-7377" y="0"/>
            <a:ext cx="421134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C85"/>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8C51C8-4E21-1046-9269-8F8D5190787B}"/>
              </a:ext>
            </a:extLst>
          </p:cNvPr>
          <p:cNvSpPr>
            <a:spLocks noGrp="1"/>
          </p:cNvSpPr>
          <p:nvPr>
            <p:ph type="title" hasCustomPrompt="1"/>
          </p:nvPr>
        </p:nvSpPr>
        <p:spPr>
          <a:xfrm>
            <a:off x="-1" y="2818161"/>
            <a:ext cx="4203965" cy="782564"/>
          </a:xfrm>
          <a:prstGeom prst="rect">
            <a:avLst/>
          </a:prstGeom>
        </p:spPr>
        <p:txBody>
          <a:bodyPr anchor="ctr" anchorCtr="0">
            <a:noAutofit/>
          </a:bodyPr>
          <a:lstStyle>
            <a:lvl1pPr algn="ctr">
              <a:defRPr sz="3600" b="1" i="0">
                <a:solidFill>
                  <a:schemeClr val="bg1"/>
                </a:solidFill>
                <a:latin typeface="Arial Black" panose="020B0604020202020204" pitchFamily="34" charset="0"/>
                <a:cs typeface="Arial Black" panose="020B0604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410151253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Title and Content x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FEFE84-A11C-064B-94AA-8B509E826942}"/>
              </a:ext>
            </a:extLst>
          </p:cNvPr>
          <p:cNvSpPr>
            <a:spLocks noGrp="1"/>
          </p:cNvSpPr>
          <p:nvPr>
            <p:ph idx="1"/>
          </p:nvPr>
        </p:nvSpPr>
        <p:spPr>
          <a:xfrm>
            <a:off x="390222" y="1091042"/>
            <a:ext cx="5511114" cy="5419296"/>
          </a:xfrm>
          <a:prstGeom prst="rect">
            <a:avLst/>
          </a:prstGeom>
        </p:spPr>
        <p:txBody>
          <a:bodyPr/>
          <a:lstStyle>
            <a:lvl1pPr>
              <a:lnSpc>
                <a:spcPct val="100000"/>
              </a:lnSpc>
              <a:spcBef>
                <a:spcPts val="300"/>
              </a:spcBef>
              <a:spcAft>
                <a:spcPts val="300"/>
              </a:spcAft>
              <a:defRPr b="0" i="0">
                <a:latin typeface="Calibri" panose="020F0502020204030204" pitchFamily="34" charset="0"/>
                <a:cs typeface="Calibri" panose="020F0502020204030204" pitchFamily="34" charset="0"/>
              </a:defRPr>
            </a:lvl1pPr>
            <a:lvl2pPr>
              <a:lnSpc>
                <a:spcPct val="100000"/>
              </a:lnSpc>
              <a:spcBef>
                <a:spcPts val="300"/>
              </a:spcBef>
              <a:spcAft>
                <a:spcPts val="300"/>
              </a:spcAft>
              <a:defRPr b="0" i="0">
                <a:latin typeface="Calibri" panose="020F0502020204030204" pitchFamily="34" charset="0"/>
                <a:cs typeface="Calibri" panose="020F0502020204030204" pitchFamily="34" charset="0"/>
              </a:defRPr>
            </a:lvl2pPr>
            <a:lvl3pPr>
              <a:lnSpc>
                <a:spcPct val="100000"/>
              </a:lnSpc>
              <a:spcBef>
                <a:spcPts val="300"/>
              </a:spcBef>
              <a:spcAft>
                <a:spcPts val="300"/>
              </a:spcAft>
              <a:defRPr b="0" i="0">
                <a:latin typeface="Calibri" panose="020F0502020204030204" pitchFamily="34" charset="0"/>
                <a:cs typeface="Calibri" panose="020F0502020204030204" pitchFamily="34" charset="0"/>
              </a:defRPr>
            </a:lvl3pPr>
            <a:lvl4pPr>
              <a:lnSpc>
                <a:spcPct val="100000"/>
              </a:lnSpc>
              <a:spcBef>
                <a:spcPts val="300"/>
              </a:spcBef>
              <a:spcAft>
                <a:spcPts val="300"/>
              </a:spcAft>
              <a:defRPr b="0" i="0">
                <a:latin typeface="Calibri" panose="020F0502020204030204" pitchFamily="34" charset="0"/>
                <a:cs typeface="Calibri" panose="020F0502020204030204" pitchFamily="34" charset="0"/>
              </a:defRPr>
            </a:lvl4pPr>
            <a:lvl5pPr>
              <a:lnSpc>
                <a:spcPct val="100000"/>
              </a:lnSpc>
              <a:spcBef>
                <a:spcPts val="300"/>
              </a:spcBef>
              <a:spcAft>
                <a:spcPts val="300"/>
              </a:spcAft>
              <a:defRPr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2">
            <a:extLst>
              <a:ext uri="{FF2B5EF4-FFF2-40B4-BE49-F238E27FC236}">
                <a16:creationId xmlns:a16="http://schemas.microsoft.com/office/drawing/2014/main" id="{AB89BA49-C6FF-834D-8358-7FFD2C2D120D}"/>
              </a:ext>
            </a:extLst>
          </p:cNvPr>
          <p:cNvSpPr>
            <a:spLocks noGrp="1"/>
          </p:cNvSpPr>
          <p:nvPr>
            <p:ph idx="10"/>
          </p:nvPr>
        </p:nvSpPr>
        <p:spPr>
          <a:xfrm>
            <a:off x="6370262" y="1091042"/>
            <a:ext cx="5511114" cy="5419296"/>
          </a:xfrm>
          <a:prstGeom prst="rect">
            <a:avLst/>
          </a:prstGeom>
        </p:spPr>
        <p:txBody>
          <a:bodyPr/>
          <a:lstStyle>
            <a:lvl1pPr>
              <a:lnSpc>
                <a:spcPct val="100000"/>
              </a:lnSpc>
              <a:spcBef>
                <a:spcPts val="300"/>
              </a:spcBef>
              <a:spcAft>
                <a:spcPts val="300"/>
              </a:spcAft>
              <a:defRPr b="0" i="0">
                <a:latin typeface="Calibri" panose="020F0502020204030204" pitchFamily="34" charset="0"/>
                <a:cs typeface="Calibri" panose="020F0502020204030204" pitchFamily="34" charset="0"/>
              </a:defRPr>
            </a:lvl1pPr>
            <a:lvl2pPr>
              <a:lnSpc>
                <a:spcPct val="100000"/>
              </a:lnSpc>
              <a:spcBef>
                <a:spcPts val="300"/>
              </a:spcBef>
              <a:spcAft>
                <a:spcPts val="300"/>
              </a:spcAft>
              <a:defRPr b="0" i="0">
                <a:latin typeface="Calibri" panose="020F0502020204030204" pitchFamily="34" charset="0"/>
                <a:cs typeface="Calibri" panose="020F0502020204030204" pitchFamily="34" charset="0"/>
              </a:defRPr>
            </a:lvl2pPr>
            <a:lvl3pPr>
              <a:lnSpc>
                <a:spcPct val="100000"/>
              </a:lnSpc>
              <a:spcBef>
                <a:spcPts val="300"/>
              </a:spcBef>
              <a:spcAft>
                <a:spcPts val="300"/>
              </a:spcAft>
              <a:defRPr b="0" i="0">
                <a:latin typeface="Calibri" panose="020F0502020204030204" pitchFamily="34" charset="0"/>
                <a:cs typeface="Calibri" panose="020F0502020204030204" pitchFamily="34" charset="0"/>
              </a:defRPr>
            </a:lvl3pPr>
            <a:lvl4pPr>
              <a:lnSpc>
                <a:spcPct val="100000"/>
              </a:lnSpc>
              <a:spcBef>
                <a:spcPts val="300"/>
              </a:spcBef>
              <a:spcAft>
                <a:spcPts val="300"/>
              </a:spcAft>
              <a:defRPr b="0" i="0">
                <a:latin typeface="Calibri" panose="020F0502020204030204" pitchFamily="34" charset="0"/>
                <a:cs typeface="Calibri" panose="020F0502020204030204" pitchFamily="34" charset="0"/>
              </a:defRPr>
            </a:lvl4pPr>
            <a:lvl5pPr>
              <a:lnSpc>
                <a:spcPct val="100000"/>
              </a:lnSpc>
              <a:spcBef>
                <a:spcPts val="300"/>
              </a:spcBef>
              <a:spcAft>
                <a:spcPts val="300"/>
              </a:spcAft>
              <a:defRPr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itle 1">
            <a:extLst>
              <a:ext uri="{FF2B5EF4-FFF2-40B4-BE49-F238E27FC236}">
                <a16:creationId xmlns:a16="http://schemas.microsoft.com/office/drawing/2014/main" id="{CF52C453-5144-AE4D-80D5-0644C0A23282}"/>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366053356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x2 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FEFE84-A11C-064B-94AA-8B509E826942}"/>
              </a:ext>
            </a:extLst>
          </p:cNvPr>
          <p:cNvSpPr>
            <a:spLocks noGrp="1"/>
          </p:cNvSpPr>
          <p:nvPr>
            <p:ph idx="1"/>
          </p:nvPr>
        </p:nvSpPr>
        <p:spPr>
          <a:xfrm>
            <a:off x="390222" y="1414734"/>
            <a:ext cx="5511114" cy="5095604"/>
          </a:xfrm>
          <a:prstGeom prst="rect">
            <a:avLst/>
          </a:prstGeom>
        </p:spPr>
        <p:txBody>
          <a:bodyPr>
            <a:normAutofit/>
          </a:bodyPr>
          <a:lstStyle>
            <a:lvl1pPr>
              <a:lnSpc>
                <a:spcPct val="100000"/>
              </a:lnSpc>
              <a:defRPr sz="2400" b="0" i="0">
                <a:latin typeface="Calibri" panose="020F0502020204030204" pitchFamily="34" charset="0"/>
                <a:cs typeface="Calibri" panose="020F0502020204030204" pitchFamily="34" charset="0"/>
              </a:defRPr>
            </a:lvl1pPr>
            <a:lvl2pPr>
              <a:defRPr sz="2000" b="0" i="0">
                <a:latin typeface="Calibri" panose="020F0502020204030204" pitchFamily="34" charset="0"/>
                <a:cs typeface="Calibri" panose="020F0502020204030204" pitchFamily="34" charset="0"/>
              </a:defRPr>
            </a:lvl2pPr>
            <a:lvl3pPr>
              <a:defRPr sz="1800" b="0" i="0">
                <a:latin typeface="Calibri" panose="020F0502020204030204" pitchFamily="34" charset="0"/>
                <a:cs typeface="Calibri" panose="020F0502020204030204" pitchFamily="34" charset="0"/>
              </a:defRPr>
            </a:lvl3pPr>
            <a:lvl4pPr>
              <a:defRPr sz="1600" b="0" i="0">
                <a:latin typeface="Calibri" panose="020F0502020204030204" pitchFamily="34" charset="0"/>
                <a:cs typeface="Calibri" panose="020F0502020204030204" pitchFamily="34" charset="0"/>
              </a:defRPr>
            </a:lvl4pPr>
            <a:lvl5pPr>
              <a:defRPr sz="16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2">
            <a:extLst>
              <a:ext uri="{FF2B5EF4-FFF2-40B4-BE49-F238E27FC236}">
                <a16:creationId xmlns:a16="http://schemas.microsoft.com/office/drawing/2014/main" id="{AB89BA49-C6FF-834D-8358-7FFD2C2D120D}"/>
              </a:ext>
            </a:extLst>
          </p:cNvPr>
          <p:cNvSpPr>
            <a:spLocks noGrp="1"/>
          </p:cNvSpPr>
          <p:nvPr>
            <p:ph idx="10"/>
          </p:nvPr>
        </p:nvSpPr>
        <p:spPr>
          <a:xfrm>
            <a:off x="6370262" y="1414734"/>
            <a:ext cx="5511114" cy="5095604"/>
          </a:xfrm>
          <a:prstGeom prst="rect">
            <a:avLst/>
          </a:prstGeom>
        </p:spPr>
        <p:txBody>
          <a:bodyPr>
            <a:normAutofit/>
          </a:bodyPr>
          <a:lstStyle>
            <a:lvl1pPr>
              <a:lnSpc>
                <a:spcPct val="100000"/>
              </a:lnSpc>
              <a:defRPr sz="2400" b="0" i="0">
                <a:latin typeface="Calibri" panose="020F0502020204030204" pitchFamily="34" charset="0"/>
                <a:cs typeface="Calibri" panose="020F0502020204030204" pitchFamily="34" charset="0"/>
              </a:defRPr>
            </a:lvl1pPr>
            <a:lvl2pPr>
              <a:defRPr sz="2000" b="0" i="0">
                <a:latin typeface="Calibri" panose="020F0502020204030204" pitchFamily="34" charset="0"/>
                <a:cs typeface="Calibri" panose="020F0502020204030204" pitchFamily="34" charset="0"/>
              </a:defRPr>
            </a:lvl2pPr>
            <a:lvl3pPr>
              <a:defRPr sz="1800" b="0" i="0">
                <a:latin typeface="Calibri" panose="020F0502020204030204" pitchFamily="34" charset="0"/>
                <a:cs typeface="Calibri" panose="020F0502020204030204" pitchFamily="34" charset="0"/>
              </a:defRPr>
            </a:lvl3pPr>
            <a:lvl4pPr>
              <a:defRPr sz="1600" b="0" i="0">
                <a:latin typeface="Calibri" panose="020F0502020204030204" pitchFamily="34" charset="0"/>
                <a:cs typeface="Calibri" panose="020F0502020204030204" pitchFamily="34" charset="0"/>
              </a:defRPr>
            </a:lvl4pPr>
            <a:lvl5pPr>
              <a:defRPr sz="16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5">
            <a:extLst>
              <a:ext uri="{FF2B5EF4-FFF2-40B4-BE49-F238E27FC236}">
                <a16:creationId xmlns:a16="http://schemas.microsoft.com/office/drawing/2014/main" id="{4F98F246-93AE-EB49-8A0C-FFD98CEA442B}"/>
              </a:ext>
            </a:extLst>
          </p:cNvPr>
          <p:cNvSpPr>
            <a:spLocks noGrp="1"/>
          </p:cNvSpPr>
          <p:nvPr>
            <p:ph type="body" sz="quarter" idx="11" hasCustomPrompt="1"/>
          </p:nvPr>
        </p:nvSpPr>
        <p:spPr>
          <a:xfrm>
            <a:off x="391123" y="990189"/>
            <a:ext cx="5510213" cy="742950"/>
          </a:xfrm>
        </p:spPr>
        <p:txBody>
          <a:bodyPr/>
          <a:lstStyle>
            <a:lvl1pPr marL="0" indent="0">
              <a:buNone/>
              <a:defRPr b="1"/>
            </a:lvl1pPr>
          </a:lstStyle>
          <a:p>
            <a:pPr lvl="0"/>
            <a:r>
              <a:rPr lang="en-GB"/>
              <a:t>Subheading</a:t>
            </a:r>
          </a:p>
        </p:txBody>
      </p:sp>
      <p:sp>
        <p:nvSpPr>
          <p:cNvPr id="7" name="Text Placeholder 5">
            <a:extLst>
              <a:ext uri="{FF2B5EF4-FFF2-40B4-BE49-F238E27FC236}">
                <a16:creationId xmlns:a16="http://schemas.microsoft.com/office/drawing/2014/main" id="{9C7034EF-A976-A340-A70D-191A880207F7}"/>
              </a:ext>
            </a:extLst>
          </p:cNvPr>
          <p:cNvSpPr>
            <a:spLocks noGrp="1"/>
          </p:cNvSpPr>
          <p:nvPr>
            <p:ph type="body" sz="quarter" idx="12" hasCustomPrompt="1"/>
          </p:nvPr>
        </p:nvSpPr>
        <p:spPr>
          <a:xfrm>
            <a:off x="6368476" y="990189"/>
            <a:ext cx="5510213" cy="742950"/>
          </a:xfrm>
        </p:spPr>
        <p:txBody>
          <a:bodyPr/>
          <a:lstStyle>
            <a:lvl1pPr marL="0" indent="0">
              <a:buNone/>
              <a:defRPr b="1"/>
            </a:lvl1pPr>
          </a:lstStyle>
          <a:p>
            <a:pPr lvl="0"/>
            <a:r>
              <a:rPr lang="en-GB"/>
              <a:t>Subheading</a:t>
            </a:r>
          </a:p>
        </p:txBody>
      </p:sp>
      <p:sp>
        <p:nvSpPr>
          <p:cNvPr id="8" name="Title 1">
            <a:extLst>
              <a:ext uri="{FF2B5EF4-FFF2-40B4-BE49-F238E27FC236}">
                <a16:creationId xmlns:a16="http://schemas.microsoft.com/office/drawing/2014/main" id="{B36AB1FF-EFB2-7148-BEF4-2BCE701D825B}"/>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3074741863"/>
      </p:ext>
    </p:extLst>
  </p:cSld>
  <p:clrMapOvr>
    <a:masterClrMapping/>
  </p:clrMapOvr>
  <p:extLst>
    <p:ext uri="{DCECCB84-F9BA-43D5-87BE-67443E8EF086}">
      <p15:sldGuideLst xmlns:p15="http://schemas.microsoft.com/office/powerpoint/2012/main">
        <p15:guide id="2" orient="horz" pos="93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x2 Subheading Blu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FEFE84-A11C-064B-94AA-8B509E826942}"/>
              </a:ext>
            </a:extLst>
          </p:cNvPr>
          <p:cNvSpPr>
            <a:spLocks noGrp="1"/>
          </p:cNvSpPr>
          <p:nvPr>
            <p:ph idx="1"/>
          </p:nvPr>
        </p:nvSpPr>
        <p:spPr>
          <a:xfrm>
            <a:off x="390222" y="1414734"/>
            <a:ext cx="5511114" cy="5095604"/>
          </a:xfrm>
          <a:prstGeom prst="rect">
            <a:avLst/>
          </a:prstGeom>
        </p:spPr>
        <p:txBody>
          <a:bodyPr>
            <a:normAutofit/>
          </a:bodyPr>
          <a:lstStyle>
            <a:lvl1pPr>
              <a:lnSpc>
                <a:spcPct val="100000"/>
              </a:lnSpc>
              <a:defRPr sz="2400" b="0" i="0">
                <a:latin typeface="Calibri" panose="020F0502020204030204" pitchFamily="34" charset="0"/>
                <a:cs typeface="Calibri" panose="020F0502020204030204" pitchFamily="34" charset="0"/>
              </a:defRPr>
            </a:lvl1pPr>
            <a:lvl2pPr>
              <a:defRPr sz="2000" b="0" i="0">
                <a:latin typeface="Calibri" panose="020F0502020204030204" pitchFamily="34" charset="0"/>
                <a:cs typeface="Calibri" panose="020F0502020204030204" pitchFamily="34" charset="0"/>
              </a:defRPr>
            </a:lvl2pPr>
            <a:lvl3pPr>
              <a:defRPr sz="1800" b="0" i="0">
                <a:latin typeface="Calibri" panose="020F0502020204030204" pitchFamily="34" charset="0"/>
                <a:cs typeface="Calibri" panose="020F0502020204030204" pitchFamily="34" charset="0"/>
              </a:defRPr>
            </a:lvl3pPr>
            <a:lvl4pPr>
              <a:defRPr sz="1600" b="0" i="0">
                <a:latin typeface="Calibri" panose="020F0502020204030204" pitchFamily="34" charset="0"/>
                <a:cs typeface="Calibri" panose="020F0502020204030204" pitchFamily="34" charset="0"/>
              </a:defRPr>
            </a:lvl4pPr>
            <a:lvl5pPr>
              <a:defRPr sz="16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2">
            <a:extLst>
              <a:ext uri="{FF2B5EF4-FFF2-40B4-BE49-F238E27FC236}">
                <a16:creationId xmlns:a16="http://schemas.microsoft.com/office/drawing/2014/main" id="{AB89BA49-C6FF-834D-8358-7FFD2C2D120D}"/>
              </a:ext>
            </a:extLst>
          </p:cNvPr>
          <p:cNvSpPr>
            <a:spLocks noGrp="1"/>
          </p:cNvSpPr>
          <p:nvPr>
            <p:ph idx="10"/>
          </p:nvPr>
        </p:nvSpPr>
        <p:spPr>
          <a:xfrm>
            <a:off x="6370262" y="1414734"/>
            <a:ext cx="5511114" cy="5095604"/>
          </a:xfrm>
          <a:prstGeom prst="rect">
            <a:avLst/>
          </a:prstGeom>
        </p:spPr>
        <p:txBody>
          <a:bodyPr>
            <a:normAutofit/>
          </a:bodyPr>
          <a:lstStyle>
            <a:lvl1pPr>
              <a:lnSpc>
                <a:spcPct val="100000"/>
              </a:lnSpc>
              <a:defRPr sz="2400" b="0" i="0">
                <a:latin typeface="Calibri" panose="020F0502020204030204" pitchFamily="34" charset="0"/>
                <a:cs typeface="Calibri" panose="020F0502020204030204" pitchFamily="34" charset="0"/>
              </a:defRPr>
            </a:lvl1pPr>
            <a:lvl2pPr>
              <a:defRPr sz="2000" b="0" i="0">
                <a:latin typeface="Calibri" panose="020F0502020204030204" pitchFamily="34" charset="0"/>
                <a:cs typeface="Calibri" panose="020F0502020204030204" pitchFamily="34" charset="0"/>
              </a:defRPr>
            </a:lvl2pPr>
            <a:lvl3pPr>
              <a:defRPr sz="1800" b="0" i="0">
                <a:latin typeface="Calibri" panose="020F0502020204030204" pitchFamily="34" charset="0"/>
                <a:cs typeface="Calibri" panose="020F0502020204030204" pitchFamily="34" charset="0"/>
              </a:defRPr>
            </a:lvl3pPr>
            <a:lvl4pPr>
              <a:defRPr sz="1600" b="0" i="0">
                <a:latin typeface="Calibri" panose="020F0502020204030204" pitchFamily="34" charset="0"/>
                <a:cs typeface="Calibri" panose="020F0502020204030204" pitchFamily="34" charset="0"/>
              </a:defRPr>
            </a:lvl4pPr>
            <a:lvl5pPr>
              <a:defRPr sz="16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5">
            <a:extLst>
              <a:ext uri="{FF2B5EF4-FFF2-40B4-BE49-F238E27FC236}">
                <a16:creationId xmlns:a16="http://schemas.microsoft.com/office/drawing/2014/main" id="{4F98F246-93AE-EB49-8A0C-FFD98CEA442B}"/>
              </a:ext>
            </a:extLst>
          </p:cNvPr>
          <p:cNvSpPr>
            <a:spLocks noGrp="1"/>
          </p:cNvSpPr>
          <p:nvPr>
            <p:ph type="body" sz="quarter" idx="11" hasCustomPrompt="1"/>
          </p:nvPr>
        </p:nvSpPr>
        <p:spPr>
          <a:xfrm>
            <a:off x="391123" y="990189"/>
            <a:ext cx="5510213" cy="742950"/>
          </a:xfrm>
        </p:spPr>
        <p:txBody>
          <a:bodyPr/>
          <a:lstStyle>
            <a:lvl1pPr marL="0" indent="0">
              <a:buNone/>
              <a:defRPr b="1">
                <a:solidFill>
                  <a:schemeClr val="accent6"/>
                </a:solidFill>
              </a:defRPr>
            </a:lvl1pPr>
          </a:lstStyle>
          <a:p>
            <a:pPr lvl="0"/>
            <a:r>
              <a:rPr lang="en-GB"/>
              <a:t>Subheading</a:t>
            </a:r>
          </a:p>
        </p:txBody>
      </p:sp>
      <p:sp>
        <p:nvSpPr>
          <p:cNvPr id="7" name="Text Placeholder 5">
            <a:extLst>
              <a:ext uri="{FF2B5EF4-FFF2-40B4-BE49-F238E27FC236}">
                <a16:creationId xmlns:a16="http://schemas.microsoft.com/office/drawing/2014/main" id="{9C7034EF-A976-A340-A70D-191A880207F7}"/>
              </a:ext>
            </a:extLst>
          </p:cNvPr>
          <p:cNvSpPr>
            <a:spLocks noGrp="1"/>
          </p:cNvSpPr>
          <p:nvPr>
            <p:ph type="body" sz="quarter" idx="12" hasCustomPrompt="1"/>
          </p:nvPr>
        </p:nvSpPr>
        <p:spPr>
          <a:xfrm>
            <a:off x="6368476" y="990189"/>
            <a:ext cx="5510213" cy="742950"/>
          </a:xfrm>
        </p:spPr>
        <p:txBody>
          <a:bodyPr/>
          <a:lstStyle>
            <a:lvl1pPr marL="0" indent="0">
              <a:buNone/>
              <a:defRPr b="1">
                <a:solidFill>
                  <a:schemeClr val="accent6"/>
                </a:solidFill>
              </a:defRPr>
            </a:lvl1pPr>
          </a:lstStyle>
          <a:p>
            <a:pPr lvl="0"/>
            <a:r>
              <a:rPr lang="en-GB"/>
              <a:t>Subheading</a:t>
            </a:r>
          </a:p>
        </p:txBody>
      </p:sp>
      <p:sp>
        <p:nvSpPr>
          <p:cNvPr id="8" name="Title 1">
            <a:extLst>
              <a:ext uri="{FF2B5EF4-FFF2-40B4-BE49-F238E27FC236}">
                <a16:creationId xmlns:a16="http://schemas.microsoft.com/office/drawing/2014/main" id="{442FA814-C01F-604B-8647-EFFA03E3DBE0}"/>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2295637860"/>
      </p:ext>
    </p:extLst>
  </p:cSld>
  <p:clrMapOvr>
    <a:masterClrMapping/>
  </p:clrMapOvr>
  <p:extLst>
    <p:ext uri="{DCECCB84-F9BA-43D5-87BE-67443E8EF086}">
      <p15:sldGuideLst xmlns:p15="http://schemas.microsoft.com/office/powerpoint/2012/main">
        <p15:guide id="2" orient="horz" pos="7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Title, Subtitle and Conten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2E4A130-7438-F54F-8BAC-FAB9C366DB28}"/>
              </a:ext>
            </a:extLst>
          </p:cNvPr>
          <p:cNvSpPr>
            <a:spLocks noGrp="1"/>
          </p:cNvSpPr>
          <p:nvPr>
            <p:ph idx="1"/>
          </p:nvPr>
        </p:nvSpPr>
        <p:spPr>
          <a:xfrm>
            <a:off x="390222" y="1381652"/>
            <a:ext cx="11491154" cy="5128686"/>
          </a:xfrm>
          <a:prstGeom prst="rect">
            <a:avLst/>
          </a:prstGeom>
        </p:spPr>
        <p:txBody>
          <a:bodyPr/>
          <a:lstStyle>
            <a:lvl1pPr>
              <a:defRPr b="0" i="0">
                <a:latin typeface="Calibri" panose="020F0502020204030204" pitchFamily="34" charset="0"/>
                <a:cs typeface="Calibri" panose="020F0502020204030204" pitchFamily="34" charset="0"/>
              </a:defRPr>
            </a:lvl1pPr>
            <a:lvl2pPr>
              <a:defRPr b="0" i="0">
                <a:latin typeface="Calibri" panose="020F0502020204030204" pitchFamily="34" charset="0"/>
                <a:cs typeface="Calibri" panose="020F0502020204030204" pitchFamily="34" charset="0"/>
              </a:defRPr>
            </a:lvl2pPr>
            <a:lvl3pPr>
              <a:defRPr b="0" i="0">
                <a:latin typeface="Calibri" panose="020F0502020204030204" pitchFamily="34" charset="0"/>
                <a:cs typeface="Calibri" panose="020F0502020204030204" pitchFamily="34" charset="0"/>
              </a:defRPr>
            </a:lvl3pPr>
            <a:lvl4pPr>
              <a:defRPr b="0" i="0">
                <a:latin typeface="Calibri" panose="020F0502020204030204" pitchFamily="34" charset="0"/>
                <a:cs typeface="Calibri" panose="020F0502020204030204" pitchFamily="34" charset="0"/>
              </a:defRPr>
            </a:lvl4pPr>
            <a:lvl5pPr>
              <a:defRPr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7">
            <a:extLst>
              <a:ext uri="{FF2B5EF4-FFF2-40B4-BE49-F238E27FC236}">
                <a16:creationId xmlns:a16="http://schemas.microsoft.com/office/drawing/2014/main" id="{50196015-77D7-9C48-9D39-AC2B9F6949B7}"/>
              </a:ext>
            </a:extLst>
          </p:cNvPr>
          <p:cNvSpPr>
            <a:spLocks noGrp="1"/>
          </p:cNvSpPr>
          <p:nvPr>
            <p:ph type="body" sz="quarter" idx="10" hasCustomPrompt="1"/>
          </p:nvPr>
        </p:nvSpPr>
        <p:spPr>
          <a:xfrm>
            <a:off x="390525" y="767437"/>
            <a:ext cx="11490851" cy="555780"/>
          </a:xfrm>
          <a:prstGeom prst="rect">
            <a:avLst/>
          </a:prstGeom>
        </p:spPr>
        <p:txBody>
          <a:bodyPr>
            <a:normAutofit/>
          </a:bodyPr>
          <a:lstStyle>
            <a:lvl1pPr marL="0" indent="0">
              <a:buNone/>
              <a:defRPr sz="2400" b="1"/>
            </a:lvl1pPr>
          </a:lstStyle>
          <a:p>
            <a:pPr lvl="0"/>
            <a:r>
              <a:rPr lang="en-GB"/>
              <a:t>Click to edit Master subtitle styles</a:t>
            </a:r>
          </a:p>
        </p:txBody>
      </p:sp>
      <p:sp>
        <p:nvSpPr>
          <p:cNvPr id="6" name="Title 1">
            <a:extLst>
              <a:ext uri="{FF2B5EF4-FFF2-40B4-BE49-F238E27FC236}">
                <a16:creationId xmlns:a16="http://schemas.microsoft.com/office/drawing/2014/main" id="{736086B7-16B7-4148-BACC-C52BD3368E31}"/>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615112814"/>
      </p:ext>
    </p:extLst>
  </p:cSld>
  <p:clrMapOvr>
    <a:masterClrMapping/>
  </p:clrMapOvr>
  <p:extLst>
    <p:ext uri="{DCECCB84-F9BA-43D5-87BE-67443E8EF086}">
      <p15:sldGuideLst xmlns:p15="http://schemas.microsoft.com/office/powerpoint/2012/main">
        <p15:guide id="2" orient="horz" pos="90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ingle Title, Subtitle and Content x2">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2E4A130-7438-F54F-8BAC-FAB9C366DB28}"/>
              </a:ext>
            </a:extLst>
          </p:cNvPr>
          <p:cNvSpPr>
            <a:spLocks noGrp="1"/>
          </p:cNvSpPr>
          <p:nvPr>
            <p:ph idx="1"/>
          </p:nvPr>
        </p:nvSpPr>
        <p:spPr>
          <a:xfrm>
            <a:off x="390222" y="1380803"/>
            <a:ext cx="5163413" cy="5127521"/>
          </a:xfrm>
          <a:prstGeom prst="rect">
            <a:avLst/>
          </a:prstGeom>
        </p:spPr>
        <p:txBody>
          <a:bodyPr/>
          <a:lstStyle>
            <a:lvl1pPr>
              <a:lnSpc>
                <a:spcPct val="100000"/>
              </a:lnSpc>
              <a:spcBef>
                <a:spcPts val="300"/>
              </a:spcBef>
              <a:spcAft>
                <a:spcPts val="300"/>
              </a:spcAft>
              <a:defRPr b="0" i="0">
                <a:latin typeface="Calibri" panose="020F0502020204030204" pitchFamily="34" charset="0"/>
                <a:cs typeface="Calibri" panose="020F0502020204030204" pitchFamily="34" charset="0"/>
              </a:defRPr>
            </a:lvl1pPr>
            <a:lvl2pPr>
              <a:lnSpc>
                <a:spcPct val="100000"/>
              </a:lnSpc>
              <a:spcBef>
                <a:spcPts val="300"/>
              </a:spcBef>
              <a:spcAft>
                <a:spcPts val="300"/>
              </a:spcAft>
              <a:defRPr b="0" i="0">
                <a:latin typeface="Calibri" panose="020F0502020204030204" pitchFamily="34" charset="0"/>
                <a:cs typeface="Calibri" panose="020F0502020204030204" pitchFamily="34" charset="0"/>
              </a:defRPr>
            </a:lvl2pPr>
            <a:lvl3pPr>
              <a:lnSpc>
                <a:spcPct val="100000"/>
              </a:lnSpc>
              <a:spcBef>
                <a:spcPts val="300"/>
              </a:spcBef>
              <a:spcAft>
                <a:spcPts val="300"/>
              </a:spcAft>
              <a:defRPr b="0" i="0">
                <a:latin typeface="Calibri" panose="020F0502020204030204" pitchFamily="34" charset="0"/>
                <a:cs typeface="Calibri" panose="020F0502020204030204" pitchFamily="34" charset="0"/>
              </a:defRPr>
            </a:lvl3pPr>
            <a:lvl4pPr>
              <a:lnSpc>
                <a:spcPct val="100000"/>
              </a:lnSpc>
              <a:spcBef>
                <a:spcPts val="300"/>
              </a:spcBef>
              <a:spcAft>
                <a:spcPts val="300"/>
              </a:spcAft>
              <a:defRPr b="0" i="0">
                <a:latin typeface="Calibri" panose="020F0502020204030204" pitchFamily="34" charset="0"/>
                <a:cs typeface="Calibri" panose="020F0502020204030204" pitchFamily="34" charset="0"/>
              </a:defRPr>
            </a:lvl4pPr>
            <a:lvl5pPr>
              <a:lnSpc>
                <a:spcPct val="100000"/>
              </a:lnSpc>
              <a:spcBef>
                <a:spcPts val="300"/>
              </a:spcBef>
              <a:spcAft>
                <a:spcPts val="300"/>
              </a:spcAft>
              <a:defRPr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7">
            <a:extLst>
              <a:ext uri="{FF2B5EF4-FFF2-40B4-BE49-F238E27FC236}">
                <a16:creationId xmlns:a16="http://schemas.microsoft.com/office/drawing/2014/main" id="{50196015-77D7-9C48-9D39-AC2B9F6949B7}"/>
              </a:ext>
            </a:extLst>
          </p:cNvPr>
          <p:cNvSpPr>
            <a:spLocks noGrp="1"/>
          </p:cNvSpPr>
          <p:nvPr>
            <p:ph type="body" sz="quarter" idx="10" hasCustomPrompt="1"/>
          </p:nvPr>
        </p:nvSpPr>
        <p:spPr>
          <a:xfrm>
            <a:off x="390525" y="765984"/>
            <a:ext cx="11490851" cy="555780"/>
          </a:xfrm>
          <a:prstGeom prst="rect">
            <a:avLst/>
          </a:prstGeom>
        </p:spPr>
        <p:txBody>
          <a:bodyPr>
            <a:normAutofit/>
          </a:bodyPr>
          <a:lstStyle>
            <a:lvl1pPr marL="0" indent="0">
              <a:buNone/>
              <a:defRPr sz="2400" b="1"/>
            </a:lvl1pPr>
          </a:lstStyle>
          <a:p>
            <a:pPr lvl="0"/>
            <a:r>
              <a:rPr lang="en-GB"/>
              <a:t>Click to edit Master subtitle styles</a:t>
            </a:r>
          </a:p>
        </p:txBody>
      </p:sp>
      <p:sp>
        <p:nvSpPr>
          <p:cNvPr id="6" name="Text Placeholder 5">
            <a:extLst>
              <a:ext uri="{FF2B5EF4-FFF2-40B4-BE49-F238E27FC236}">
                <a16:creationId xmlns:a16="http://schemas.microsoft.com/office/drawing/2014/main" id="{3C4CEBC2-91B2-BE40-BD10-D64DA35714D6}"/>
              </a:ext>
            </a:extLst>
          </p:cNvPr>
          <p:cNvSpPr>
            <a:spLocks noGrp="1"/>
          </p:cNvSpPr>
          <p:nvPr>
            <p:ph type="body" sz="quarter" idx="11"/>
          </p:nvPr>
        </p:nvSpPr>
        <p:spPr>
          <a:xfrm>
            <a:off x="6145738" y="1369514"/>
            <a:ext cx="5735638" cy="5140824"/>
          </a:xfrm>
        </p:spPr>
        <p:txBody>
          <a:bodyPr/>
          <a:lstStyle>
            <a:lvl1pPr>
              <a:lnSpc>
                <a:spcPct val="100000"/>
              </a:lnSpc>
              <a:spcBef>
                <a:spcPts val="300"/>
              </a:spcBef>
              <a:spcAft>
                <a:spcPts val="300"/>
              </a:spcAft>
              <a:defRPr/>
            </a:lvl1pPr>
            <a:lvl2pPr>
              <a:lnSpc>
                <a:spcPct val="100000"/>
              </a:lnSpc>
              <a:spcBef>
                <a:spcPts val="300"/>
              </a:spcBef>
              <a:spcAft>
                <a:spcPts val="300"/>
              </a:spcAft>
              <a:defRPr/>
            </a:lvl2pPr>
            <a:lvl3pPr>
              <a:lnSpc>
                <a:spcPct val="100000"/>
              </a:lnSpc>
              <a:spcBef>
                <a:spcPts val="300"/>
              </a:spcBef>
              <a:spcAft>
                <a:spcPts val="300"/>
              </a:spcAft>
              <a:defRPr/>
            </a:lvl3pPr>
            <a:lvl4pPr>
              <a:lnSpc>
                <a:spcPct val="100000"/>
              </a:lnSpc>
              <a:spcBef>
                <a:spcPts val="300"/>
              </a:spcBef>
              <a:spcAft>
                <a:spcPts val="300"/>
              </a:spcAft>
              <a:defRPr/>
            </a:lvl4pPr>
            <a:lvl5pPr>
              <a:lnSpc>
                <a:spcPct val="100000"/>
              </a:lnSpc>
              <a:spcBef>
                <a:spcPts val="300"/>
              </a:spcBef>
              <a:spcAft>
                <a:spcPts val="3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itle 1">
            <a:extLst>
              <a:ext uri="{FF2B5EF4-FFF2-40B4-BE49-F238E27FC236}">
                <a16:creationId xmlns:a16="http://schemas.microsoft.com/office/drawing/2014/main" id="{1BD57182-960E-8D4C-B6D4-BC599F14870C}"/>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3002061312"/>
      </p:ext>
    </p:extLst>
  </p:cSld>
  <p:clrMapOvr>
    <a:masterClrMapping/>
  </p:clrMapOvr>
  <p:extLst>
    <p:ext uri="{DCECCB84-F9BA-43D5-87BE-67443E8EF086}">
      <p15:sldGuideLst xmlns:p15="http://schemas.microsoft.com/office/powerpoint/2012/main">
        <p15:guide id="2" orient="horz" pos="90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Single Title, Subtitle and Content x2">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2E4A130-7438-F54F-8BAC-FAB9C366DB28}"/>
              </a:ext>
            </a:extLst>
          </p:cNvPr>
          <p:cNvSpPr>
            <a:spLocks noGrp="1"/>
          </p:cNvSpPr>
          <p:nvPr>
            <p:ph idx="1"/>
          </p:nvPr>
        </p:nvSpPr>
        <p:spPr>
          <a:xfrm>
            <a:off x="390223" y="1372336"/>
            <a:ext cx="3529596" cy="5138001"/>
          </a:xfrm>
          <a:prstGeom prst="rect">
            <a:avLst/>
          </a:prstGeom>
        </p:spPr>
        <p:txBody>
          <a:bodyPr>
            <a:normAutofit/>
          </a:bodyPr>
          <a:lstStyle>
            <a:lvl1pPr marL="266700" indent="-266700">
              <a:lnSpc>
                <a:spcPct val="100000"/>
              </a:lnSpc>
              <a:spcBef>
                <a:spcPts val="300"/>
              </a:spcBef>
              <a:spcAft>
                <a:spcPts val="300"/>
              </a:spcAft>
              <a:tabLst/>
              <a:defRPr sz="1800" b="0" i="0">
                <a:latin typeface="Calibri" panose="020F0502020204030204" pitchFamily="34" charset="0"/>
                <a:cs typeface="Calibri" panose="020F0502020204030204" pitchFamily="34" charset="0"/>
              </a:defRPr>
            </a:lvl1pPr>
            <a:lvl2pPr marL="525463" indent="-247650">
              <a:lnSpc>
                <a:spcPct val="100000"/>
              </a:lnSpc>
              <a:spcBef>
                <a:spcPts val="300"/>
              </a:spcBef>
              <a:spcAft>
                <a:spcPts val="300"/>
              </a:spcAft>
              <a:tabLst/>
              <a:defRPr sz="1600" b="0" i="0">
                <a:latin typeface="Calibri" panose="020F0502020204030204" pitchFamily="34" charset="0"/>
                <a:cs typeface="Calibri" panose="020F0502020204030204" pitchFamily="34" charset="0"/>
              </a:defRPr>
            </a:lvl2pPr>
            <a:lvl3pPr marL="755650" indent="-230188">
              <a:lnSpc>
                <a:spcPct val="100000"/>
              </a:lnSpc>
              <a:spcBef>
                <a:spcPts val="300"/>
              </a:spcBef>
              <a:spcAft>
                <a:spcPts val="300"/>
              </a:spcAft>
              <a:tabLst/>
              <a:defRPr sz="1400" b="0" i="0">
                <a:latin typeface="Calibri" panose="020F0502020204030204" pitchFamily="34" charset="0"/>
                <a:cs typeface="Calibri" panose="020F0502020204030204" pitchFamily="34" charset="0"/>
              </a:defRPr>
            </a:lvl3pPr>
            <a:lvl4pPr marL="984250" indent="-21113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4pPr>
            <a:lvl5pPr marL="1203325" indent="-22383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7">
            <a:extLst>
              <a:ext uri="{FF2B5EF4-FFF2-40B4-BE49-F238E27FC236}">
                <a16:creationId xmlns:a16="http://schemas.microsoft.com/office/drawing/2014/main" id="{50196015-77D7-9C48-9D39-AC2B9F6949B7}"/>
              </a:ext>
            </a:extLst>
          </p:cNvPr>
          <p:cNvSpPr>
            <a:spLocks noGrp="1"/>
          </p:cNvSpPr>
          <p:nvPr>
            <p:ph type="body" sz="quarter" idx="10" hasCustomPrompt="1"/>
          </p:nvPr>
        </p:nvSpPr>
        <p:spPr>
          <a:xfrm>
            <a:off x="390525" y="757517"/>
            <a:ext cx="11490851" cy="555780"/>
          </a:xfrm>
          <a:prstGeom prst="rect">
            <a:avLst/>
          </a:prstGeom>
        </p:spPr>
        <p:txBody>
          <a:bodyPr>
            <a:normAutofit/>
          </a:bodyPr>
          <a:lstStyle>
            <a:lvl1pPr marL="0" indent="0">
              <a:buNone/>
              <a:defRPr sz="2400" b="1"/>
            </a:lvl1pPr>
          </a:lstStyle>
          <a:p>
            <a:pPr lvl="0"/>
            <a:r>
              <a:rPr lang="en-GB"/>
              <a:t>Click to edit Master subtitle styles</a:t>
            </a:r>
          </a:p>
        </p:txBody>
      </p:sp>
      <p:sp>
        <p:nvSpPr>
          <p:cNvPr id="8" name="Content Placeholder 2">
            <a:extLst>
              <a:ext uri="{FF2B5EF4-FFF2-40B4-BE49-F238E27FC236}">
                <a16:creationId xmlns:a16="http://schemas.microsoft.com/office/drawing/2014/main" id="{C7144131-6049-6C40-B257-CBB96EE0B246}"/>
              </a:ext>
            </a:extLst>
          </p:cNvPr>
          <p:cNvSpPr>
            <a:spLocks noGrp="1"/>
          </p:cNvSpPr>
          <p:nvPr>
            <p:ph idx="11"/>
          </p:nvPr>
        </p:nvSpPr>
        <p:spPr>
          <a:xfrm>
            <a:off x="4377276" y="1372336"/>
            <a:ext cx="3529596" cy="5138001"/>
          </a:xfrm>
          <a:prstGeom prst="rect">
            <a:avLst/>
          </a:prstGeom>
        </p:spPr>
        <p:txBody>
          <a:bodyPr>
            <a:normAutofit/>
          </a:bodyPr>
          <a:lstStyle>
            <a:lvl1pPr marL="266700" indent="-266700">
              <a:lnSpc>
                <a:spcPct val="100000"/>
              </a:lnSpc>
              <a:spcBef>
                <a:spcPts val="300"/>
              </a:spcBef>
              <a:spcAft>
                <a:spcPts val="300"/>
              </a:spcAft>
              <a:tabLst/>
              <a:defRPr sz="1800" b="0" i="0">
                <a:latin typeface="Calibri" panose="020F0502020204030204" pitchFamily="34" charset="0"/>
                <a:cs typeface="Calibri" panose="020F0502020204030204" pitchFamily="34" charset="0"/>
              </a:defRPr>
            </a:lvl1pPr>
            <a:lvl2pPr marL="525463" indent="-254000">
              <a:lnSpc>
                <a:spcPct val="100000"/>
              </a:lnSpc>
              <a:spcBef>
                <a:spcPts val="300"/>
              </a:spcBef>
              <a:spcAft>
                <a:spcPts val="300"/>
              </a:spcAft>
              <a:tabLst/>
              <a:defRPr sz="1600" b="0" i="0">
                <a:latin typeface="Calibri" panose="020F0502020204030204" pitchFamily="34" charset="0"/>
                <a:cs typeface="Calibri" panose="020F0502020204030204" pitchFamily="34" charset="0"/>
              </a:defRPr>
            </a:lvl2pPr>
            <a:lvl3pPr marL="755650" indent="-230188">
              <a:lnSpc>
                <a:spcPct val="100000"/>
              </a:lnSpc>
              <a:spcBef>
                <a:spcPts val="300"/>
              </a:spcBef>
              <a:spcAft>
                <a:spcPts val="300"/>
              </a:spcAft>
              <a:tabLst/>
              <a:defRPr sz="1400" b="0" i="0">
                <a:latin typeface="Calibri" panose="020F0502020204030204" pitchFamily="34" charset="0"/>
                <a:cs typeface="Calibri" panose="020F0502020204030204" pitchFamily="34" charset="0"/>
              </a:defRPr>
            </a:lvl3pPr>
            <a:lvl4pPr marL="990600" indent="-21748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4pPr>
            <a:lvl5pPr marL="1203325" indent="-22383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E3CEFBE0-3274-8D4D-88ED-88B32743E46F}"/>
              </a:ext>
            </a:extLst>
          </p:cNvPr>
          <p:cNvSpPr>
            <a:spLocks noGrp="1"/>
          </p:cNvSpPr>
          <p:nvPr>
            <p:ph idx="12"/>
          </p:nvPr>
        </p:nvSpPr>
        <p:spPr>
          <a:xfrm>
            <a:off x="8364329" y="1372336"/>
            <a:ext cx="3529596" cy="5138001"/>
          </a:xfrm>
          <a:prstGeom prst="rect">
            <a:avLst/>
          </a:prstGeom>
        </p:spPr>
        <p:txBody>
          <a:bodyPr>
            <a:normAutofit/>
          </a:bodyPr>
          <a:lstStyle>
            <a:lvl1pPr marL="266700" indent="-266700">
              <a:lnSpc>
                <a:spcPct val="100000"/>
              </a:lnSpc>
              <a:spcBef>
                <a:spcPts val="300"/>
              </a:spcBef>
              <a:spcAft>
                <a:spcPts val="300"/>
              </a:spcAft>
              <a:tabLst/>
              <a:defRPr sz="1800" b="0" i="0">
                <a:latin typeface="Calibri" panose="020F0502020204030204" pitchFamily="34" charset="0"/>
                <a:cs typeface="Calibri" panose="020F0502020204030204" pitchFamily="34" charset="0"/>
              </a:defRPr>
            </a:lvl1pPr>
            <a:lvl2pPr marL="501650" indent="-236538">
              <a:lnSpc>
                <a:spcPct val="100000"/>
              </a:lnSpc>
              <a:spcBef>
                <a:spcPts val="300"/>
              </a:spcBef>
              <a:spcAft>
                <a:spcPts val="300"/>
              </a:spcAft>
              <a:tabLst/>
              <a:defRPr sz="1600" b="0" i="0">
                <a:latin typeface="Calibri" panose="020F0502020204030204" pitchFamily="34" charset="0"/>
                <a:cs typeface="Calibri" panose="020F0502020204030204" pitchFamily="34" charset="0"/>
              </a:defRPr>
            </a:lvl2pPr>
            <a:lvl3pPr marL="766763" indent="-228600">
              <a:lnSpc>
                <a:spcPct val="100000"/>
              </a:lnSpc>
              <a:spcBef>
                <a:spcPts val="300"/>
              </a:spcBef>
              <a:spcAft>
                <a:spcPts val="300"/>
              </a:spcAft>
              <a:tabLst/>
              <a:defRPr sz="1400" b="0" i="0">
                <a:latin typeface="Calibri" panose="020F0502020204030204" pitchFamily="34" charset="0"/>
                <a:cs typeface="Calibri" panose="020F0502020204030204" pitchFamily="34" charset="0"/>
              </a:defRPr>
            </a:lvl3pPr>
            <a:lvl4pPr marL="1009650" indent="-21748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4pPr>
            <a:lvl5pPr marL="1244600" indent="-22383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itle 1">
            <a:extLst>
              <a:ext uri="{FF2B5EF4-FFF2-40B4-BE49-F238E27FC236}">
                <a16:creationId xmlns:a16="http://schemas.microsoft.com/office/drawing/2014/main" id="{BBFA9E36-FDEF-F949-B6F7-10A7E85BDFBB}"/>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3640689311"/>
      </p:ext>
    </p:extLst>
  </p:cSld>
  <p:clrMapOvr>
    <a:masterClrMapping/>
  </p:clrMapOvr>
  <p:extLst>
    <p:ext uri="{DCECCB84-F9BA-43D5-87BE-67443E8EF086}">
      <p15:sldGuideLst xmlns:p15="http://schemas.microsoft.com/office/powerpoint/2012/main">
        <p15:guide id="2" orient="horz" pos="90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Title and Content x3">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2E4A130-7438-F54F-8BAC-FAB9C366DB28}"/>
              </a:ext>
            </a:extLst>
          </p:cNvPr>
          <p:cNvSpPr>
            <a:spLocks noGrp="1"/>
          </p:cNvSpPr>
          <p:nvPr>
            <p:ph idx="1"/>
          </p:nvPr>
        </p:nvSpPr>
        <p:spPr>
          <a:xfrm>
            <a:off x="390223" y="1110566"/>
            <a:ext cx="3529596" cy="5399772"/>
          </a:xfrm>
          <a:prstGeom prst="rect">
            <a:avLst/>
          </a:prstGeom>
        </p:spPr>
        <p:txBody>
          <a:bodyPr>
            <a:normAutofit/>
          </a:bodyPr>
          <a:lstStyle>
            <a:lvl1pPr marL="266700" indent="-266700">
              <a:lnSpc>
                <a:spcPct val="100000"/>
              </a:lnSpc>
              <a:spcBef>
                <a:spcPts val="300"/>
              </a:spcBef>
              <a:spcAft>
                <a:spcPts val="300"/>
              </a:spcAft>
              <a:tabLst/>
              <a:defRPr sz="1800" b="0" i="0">
                <a:latin typeface="Calibri" panose="020F0502020204030204" pitchFamily="34" charset="0"/>
                <a:cs typeface="Calibri" panose="020F0502020204030204" pitchFamily="34" charset="0"/>
              </a:defRPr>
            </a:lvl1pPr>
            <a:lvl2pPr marL="519113" indent="-247650">
              <a:lnSpc>
                <a:spcPct val="100000"/>
              </a:lnSpc>
              <a:spcBef>
                <a:spcPts val="300"/>
              </a:spcBef>
              <a:spcAft>
                <a:spcPts val="300"/>
              </a:spcAft>
              <a:tabLst/>
              <a:defRPr sz="1600" b="0" i="0">
                <a:latin typeface="Calibri" panose="020F0502020204030204" pitchFamily="34" charset="0"/>
                <a:cs typeface="Calibri" panose="020F0502020204030204" pitchFamily="34" charset="0"/>
              </a:defRPr>
            </a:lvl2pPr>
            <a:lvl3pPr marL="773113" indent="-234950">
              <a:lnSpc>
                <a:spcPct val="100000"/>
              </a:lnSpc>
              <a:spcBef>
                <a:spcPts val="300"/>
              </a:spcBef>
              <a:spcAft>
                <a:spcPts val="300"/>
              </a:spcAft>
              <a:tabLst/>
              <a:defRPr sz="1400" b="0" i="0">
                <a:latin typeface="Calibri" panose="020F0502020204030204" pitchFamily="34" charset="0"/>
                <a:cs typeface="Calibri" panose="020F0502020204030204" pitchFamily="34" charset="0"/>
              </a:defRPr>
            </a:lvl3pPr>
            <a:lvl4pPr marL="990600" indent="-21113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4pPr>
            <a:lvl5pPr marL="1203325" indent="-22383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C7144131-6049-6C40-B257-CBB96EE0B246}"/>
              </a:ext>
            </a:extLst>
          </p:cNvPr>
          <p:cNvSpPr>
            <a:spLocks noGrp="1"/>
          </p:cNvSpPr>
          <p:nvPr>
            <p:ph idx="11"/>
          </p:nvPr>
        </p:nvSpPr>
        <p:spPr>
          <a:xfrm>
            <a:off x="4377276" y="1110566"/>
            <a:ext cx="3529596" cy="5399772"/>
          </a:xfrm>
          <a:prstGeom prst="rect">
            <a:avLst/>
          </a:prstGeom>
        </p:spPr>
        <p:txBody>
          <a:bodyPr>
            <a:normAutofit/>
          </a:bodyPr>
          <a:lstStyle>
            <a:lvl1pPr marL="266700" indent="-266700">
              <a:lnSpc>
                <a:spcPct val="100000"/>
              </a:lnSpc>
              <a:spcBef>
                <a:spcPts val="300"/>
              </a:spcBef>
              <a:spcAft>
                <a:spcPts val="300"/>
              </a:spcAft>
              <a:tabLst/>
              <a:defRPr sz="1800" b="0" i="0">
                <a:latin typeface="Calibri" panose="020F0502020204030204" pitchFamily="34" charset="0"/>
                <a:cs typeface="Calibri" panose="020F0502020204030204" pitchFamily="34" charset="0"/>
              </a:defRPr>
            </a:lvl1pPr>
            <a:lvl2pPr marL="525463" indent="-254000">
              <a:lnSpc>
                <a:spcPct val="100000"/>
              </a:lnSpc>
              <a:spcBef>
                <a:spcPts val="300"/>
              </a:spcBef>
              <a:spcAft>
                <a:spcPts val="300"/>
              </a:spcAft>
              <a:tabLst/>
              <a:defRPr sz="1600" b="0" i="0">
                <a:latin typeface="Calibri" panose="020F0502020204030204" pitchFamily="34" charset="0"/>
                <a:cs typeface="Calibri" panose="020F0502020204030204" pitchFamily="34" charset="0"/>
              </a:defRPr>
            </a:lvl2pPr>
            <a:lvl3pPr marL="755650" indent="-230188">
              <a:lnSpc>
                <a:spcPct val="100000"/>
              </a:lnSpc>
              <a:spcBef>
                <a:spcPts val="300"/>
              </a:spcBef>
              <a:spcAft>
                <a:spcPts val="300"/>
              </a:spcAft>
              <a:tabLst/>
              <a:defRPr sz="1400" b="0" i="0">
                <a:latin typeface="Calibri" panose="020F0502020204030204" pitchFamily="34" charset="0"/>
                <a:cs typeface="Calibri" panose="020F0502020204030204" pitchFamily="34" charset="0"/>
              </a:defRPr>
            </a:lvl3pPr>
            <a:lvl4pPr marL="984250" indent="-21113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4pPr>
            <a:lvl5pPr marL="1203325" indent="-219075">
              <a:lnSpc>
                <a:spcPct val="100000"/>
              </a:lnSpc>
              <a:spcBef>
                <a:spcPts val="300"/>
              </a:spcBef>
              <a:spcAft>
                <a:spcPts val="300"/>
              </a:spcAft>
              <a:tabLst/>
              <a:defRPr sz="12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E3CEFBE0-3274-8D4D-88ED-88B32743E46F}"/>
              </a:ext>
            </a:extLst>
          </p:cNvPr>
          <p:cNvSpPr>
            <a:spLocks noGrp="1"/>
          </p:cNvSpPr>
          <p:nvPr>
            <p:ph idx="12"/>
          </p:nvPr>
        </p:nvSpPr>
        <p:spPr>
          <a:xfrm>
            <a:off x="8364329" y="1110566"/>
            <a:ext cx="3529596" cy="5399772"/>
          </a:xfrm>
          <a:prstGeom prst="rect">
            <a:avLst/>
          </a:prstGeom>
        </p:spPr>
        <p:txBody>
          <a:bodyPr>
            <a:normAutofit/>
          </a:bodyPr>
          <a:lstStyle>
            <a:lvl1pPr marL="266700" indent="-266700">
              <a:lnSpc>
                <a:spcPct val="100000"/>
              </a:lnSpc>
              <a:spcBef>
                <a:spcPts val="300"/>
              </a:spcBef>
              <a:spcAft>
                <a:spcPts val="300"/>
              </a:spcAft>
              <a:tabLst/>
              <a:defRPr sz="1800" b="0" i="0">
                <a:latin typeface="Calibri" panose="020F0502020204030204" pitchFamily="34" charset="0"/>
                <a:cs typeface="Calibri" panose="020F0502020204030204" pitchFamily="34" charset="0"/>
              </a:defRPr>
            </a:lvl1pPr>
            <a:lvl2pPr marL="501650" indent="-230188">
              <a:lnSpc>
                <a:spcPct val="100000"/>
              </a:lnSpc>
              <a:spcBef>
                <a:spcPts val="300"/>
              </a:spcBef>
              <a:spcAft>
                <a:spcPts val="300"/>
              </a:spcAft>
              <a:tabLst/>
              <a:defRPr sz="1600" b="0" i="0">
                <a:latin typeface="Calibri" panose="020F0502020204030204" pitchFamily="34" charset="0"/>
                <a:cs typeface="Calibri" panose="020F0502020204030204" pitchFamily="34" charset="0"/>
              </a:defRPr>
            </a:lvl2pPr>
            <a:lvl3pPr marL="755650" indent="-230188">
              <a:lnSpc>
                <a:spcPct val="100000"/>
              </a:lnSpc>
              <a:spcBef>
                <a:spcPts val="300"/>
              </a:spcBef>
              <a:spcAft>
                <a:spcPts val="300"/>
              </a:spcAft>
              <a:tabLst/>
              <a:defRPr sz="1400" b="0" i="0">
                <a:latin typeface="Calibri" panose="020F0502020204030204" pitchFamily="34" charset="0"/>
                <a:cs typeface="Calibri" panose="020F0502020204030204" pitchFamily="34" charset="0"/>
              </a:defRPr>
            </a:lvl3pPr>
            <a:lvl4pPr marL="1009650" indent="-22383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4pPr>
            <a:lvl5pPr marL="1220788" indent="-223838">
              <a:lnSpc>
                <a:spcPct val="100000"/>
              </a:lnSpc>
              <a:spcBef>
                <a:spcPts val="300"/>
              </a:spcBef>
              <a:spcAft>
                <a:spcPts val="300"/>
              </a:spcAft>
              <a:tabLst/>
              <a:defRPr sz="1200"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1">
            <a:extLst>
              <a:ext uri="{FF2B5EF4-FFF2-40B4-BE49-F238E27FC236}">
                <a16:creationId xmlns:a16="http://schemas.microsoft.com/office/drawing/2014/main" id="{23D6C598-BCC5-3D4D-B7AD-653183F9785F}"/>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3930354686"/>
      </p:ext>
    </p:extLst>
  </p:cSld>
  <p:clrMapOvr>
    <a:masterClrMapping/>
  </p:clrMapOvr>
  <p:extLst>
    <p:ext uri="{DCECCB84-F9BA-43D5-87BE-67443E8EF086}">
      <p15:sldGuideLst xmlns:p15="http://schemas.microsoft.com/office/powerpoint/2012/main">
        <p15:guide id="2" orient="horz" pos="90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Title,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50196015-77D7-9C48-9D39-AC2B9F6949B7}"/>
              </a:ext>
            </a:extLst>
          </p:cNvPr>
          <p:cNvSpPr>
            <a:spLocks noGrp="1"/>
          </p:cNvSpPr>
          <p:nvPr>
            <p:ph type="body" sz="quarter" idx="10" hasCustomPrompt="1"/>
          </p:nvPr>
        </p:nvSpPr>
        <p:spPr>
          <a:xfrm>
            <a:off x="390525" y="767436"/>
            <a:ext cx="11490851" cy="555780"/>
          </a:xfrm>
          <a:prstGeom prst="rect">
            <a:avLst/>
          </a:prstGeom>
        </p:spPr>
        <p:txBody>
          <a:bodyPr>
            <a:normAutofit/>
          </a:bodyPr>
          <a:lstStyle>
            <a:lvl1pPr marL="0" indent="0">
              <a:buNone/>
              <a:defRPr sz="2400" b="1"/>
            </a:lvl1pPr>
          </a:lstStyle>
          <a:p>
            <a:pPr lvl="0"/>
            <a:r>
              <a:rPr lang="en-GB"/>
              <a:t>Click to edit Master subtitle styles</a:t>
            </a:r>
          </a:p>
        </p:txBody>
      </p:sp>
      <p:sp>
        <p:nvSpPr>
          <p:cNvPr id="4" name="Title 1">
            <a:extLst>
              <a:ext uri="{FF2B5EF4-FFF2-40B4-BE49-F238E27FC236}">
                <a16:creationId xmlns:a16="http://schemas.microsoft.com/office/drawing/2014/main" id="{8A3B80D3-84E2-5245-BCA0-F4FA8E4039CB}"/>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1778939551"/>
      </p:ext>
    </p:extLst>
  </p:cSld>
  <p:clrMapOvr>
    <a:masterClrMapping/>
  </p:clrMapOvr>
  <p:extLst>
    <p:ext uri="{DCECCB84-F9BA-43D5-87BE-67443E8EF086}">
      <p15:sldGuideLst xmlns:p15="http://schemas.microsoft.com/office/powerpoint/2012/main">
        <p15:guide id="1" orient="horz" pos="504">
          <p15:clr>
            <a:srgbClr val="FBAE40"/>
          </p15:clr>
        </p15:guide>
        <p15:guide id="2" orient="horz" pos="78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ngl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C51C8-4E21-1046-9269-8F8D5190787B}"/>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1662945501"/>
      </p:ext>
    </p:extLst>
  </p:cSld>
  <p:clrMapOvr>
    <a:masterClrMapping/>
  </p:clrMapOvr>
  <p:extLst>
    <p:ext uri="{DCECCB84-F9BA-43D5-87BE-67443E8EF086}">
      <p15:sldGuideLst xmlns:p15="http://schemas.microsoft.com/office/powerpoint/2012/main">
        <p15:guide id="2" orient="horz" pos="78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ajor External Title Slide Option 1A">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7516422-48AF-E64C-B7A7-AD8F5C987E9C}"/>
              </a:ext>
            </a:extLst>
          </p:cNvPr>
          <p:cNvSpPr>
            <a:spLocks noGrp="1"/>
          </p:cNvSpPr>
          <p:nvPr>
            <p:ph type="pic" sz="quarter" idx="13"/>
          </p:nvPr>
        </p:nvSpPr>
        <p:spPr>
          <a:xfrm>
            <a:off x="0" y="0"/>
            <a:ext cx="12192000" cy="6858000"/>
          </a:xfrm>
          <a:prstGeom prst="rect">
            <a:avLst/>
          </a:prstGeom>
        </p:spPr>
        <p:txBody>
          <a:bodyPr anchor="t"/>
          <a:lstStyle>
            <a:lvl1pPr algn="l">
              <a:defRPr/>
            </a:lvl1pPr>
          </a:lstStyle>
          <a:p>
            <a:endParaRPr lang="en-US" dirty="0"/>
          </a:p>
        </p:txBody>
      </p:sp>
      <p:sp>
        <p:nvSpPr>
          <p:cNvPr id="2" name="Title 1">
            <a:extLst>
              <a:ext uri="{FF2B5EF4-FFF2-40B4-BE49-F238E27FC236}">
                <a16:creationId xmlns:a16="http://schemas.microsoft.com/office/drawing/2014/main" id="{894AFEAA-F18F-F949-91CB-1F9BE7162647}"/>
              </a:ext>
            </a:extLst>
          </p:cNvPr>
          <p:cNvSpPr>
            <a:spLocks noGrp="1"/>
          </p:cNvSpPr>
          <p:nvPr>
            <p:ph type="ctrTitle" hasCustomPrompt="1"/>
          </p:nvPr>
        </p:nvSpPr>
        <p:spPr>
          <a:xfrm>
            <a:off x="419390" y="1590363"/>
            <a:ext cx="6164284" cy="2387600"/>
          </a:xfrm>
          <a:prstGeom prst="rect">
            <a:avLst/>
          </a:prstGeom>
        </p:spPr>
        <p:txBody>
          <a:bodyPr anchor="b">
            <a:normAutofit/>
          </a:bodyPr>
          <a:lstStyle>
            <a:lvl1pPr algn="l">
              <a:defRPr sz="4200" b="0" i="0">
                <a:solidFill>
                  <a:schemeClr val="tx1"/>
                </a:solidFill>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E5E90C0F-F45F-0446-8D8B-3A0D1B304E85}"/>
              </a:ext>
            </a:extLst>
          </p:cNvPr>
          <p:cNvSpPr>
            <a:spLocks noGrp="1"/>
          </p:cNvSpPr>
          <p:nvPr>
            <p:ph type="subTitle" idx="1"/>
          </p:nvPr>
        </p:nvSpPr>
        <p:spPr>
          <a:xfrm>
            <a:off x="419390" y="4070038"/>
            <a:ext cx="6164284" cy="1655762"/>
          </a:xfrm>
          <a:prstGeom prst="rect">
            <a:avLst/>
          </a:prstGeom>
        </p:spPr>
        <p:txBody>
          <a:bodyPr>
            <a:normAutofit/>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3069682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oubl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C51C8-4E21-1046-9269-8F8D5190787B}"/>
              </a:ext>
            </a:extLst>
          </p:cNvPr>
          <p:cNvSpPr>
            <a:spLocks noGrp="1"/>
          </p:cNvSpPr>
          <p:nvPr>
            <p:ph type="title" hasCustomPrompt="1"/>
          </p:nvPr>
        </p:nvSpPr>
        <p:spPr>
          <a:xfrm>
            <a:off x="390222" y="-176220"/>
            <a:ext cx="11491154" cy="996301"/>
          </a:xfrm>
          <a:prstGeom prst="rect">
            <a:avLst/>
          </a:prstGeom>
        </p:spPr>
        <p:txBody>
          <a:bodyPr anchor="b" anchorCtr="0"/>
          <a:lstStyle>
            <a:lvl1pPr>
              <a:defRPr b="1" i="0">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F7FEFE84-A11C-064B-94AA-8B509E826942}"/>
              </a:ext>
            </a:extLst>
          </p:cNvPr>
          <p:cNvSpPr>
            <a:spLocks noGrp="1"/>
          </p:cNvSpPr>
          <p:nvPr>
            <p:ph idx="1"/>
          </p:nvPr>
        </p:nvSpPr>
        <p:spPr>
          <a:xfrm>
            <a:off x="390222" y="1088276"/>
            <a:ext cx="11491154" cy="5422062"/>
          </a:xfrm>
          <a:prstGeom prst="rect">
            <a:avLst/>
          </a:prstGeom>
        </p:spPr>
        <p:txBody>
          <a:bodyPr/>
          <a:lstStyle>
            <a:lvl1pPr>
              <a:defRPr b="0" i="0">
                <a:latin typeface="Calibri" panose="020F0502020204030204" pitchFamily="34" charset="0"/>
                <a:cs typeface="Calibri" panose="020F0502020204030204" pitchFamily="34" charset="0"/>
              </a:defRPr>
            </a:lvl1pPr>
            <a:lvl2pPr>
              <a:defRPr b="0" i="0">
                <a:latin typeface="Calibri" panose="020F0502020204030204" pitchFamily="34" charset="0"/>
                <a:cs typeface="Calibri" panose="020F0502020204030204" pitchFamily="34" charset="0"/>
              </a:defRPr>
            </a:lvl2pPr>
            <a:lvl3pPr>
              <a:defRPr b="0" i="0">
                <a:latin typeface="Calibri" panose="020F0502020204030204" pitchFamily="34" charset="0"/>
                <a:cs typeface="Calibri" panose="020F0502020204030204" pitchFamily="34" charset="0"/>
              </a:defRPr>
            </a:lvl3pPr>
            <a:lvl4pPr>
              <a:defRPr b="0" i="0">
                <a:latin typeface="Calibri" panose="020F0502020204030204" pitchFamily="34" charset="0"/>
                <a:cs typeface="Calibri" panose="020F0502020204030204" pitchFamily="34" charset="0"/>
              </a:defRPr>
            </a:lvl4pPr>
            <a:lvl5pPr>
              <a:defRPr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80707022"/>
      </p:ext>
    </p:extLst>
  </p:cSld>
  <p:clrMapOvr>
    <a:masterClrMapping/>
  </p:clrMapOvr>
  <p:extLst>
    <p:ext uri="{DCECCB84-F9BA-43D5-87BE-67443E8EF086}">
      <p15:sldGuideLst xmlns:p15="http://schemas.microsoft.com/office/powerpoint/2012/main">
        <p15:guide id="1" orient="horz" pos="504">
          <p15:clr>
            <a:srgbClr val="FBAE40"/>
          </p15:clr>
        </p15:guide>
        <p15:guide id="2" orient="horz" pos="7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ingle Title,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C51C8-4E21-1046-9269-8F8D5190787B}"/>
              </a:ext>
            </a:extLst>
          </p:cNvPr>
          <p:cNvSpPr>
            <a:spLocks noGrp="1"/>
          </p:cNvSpPr>
          <p:nvPr>
            <p:ph type="title" hasCustomPrompt="1"/>
          </p:nvPr>
        </p:nvSpPr>
        <p:spPr>
          <a:xfrm>
            <a:off x="390222" y="474316"/>
            <a:ext cx="5904390" cy="782564"/>
          </a:xfrm>
          <a:prstGeom prst="rect">
            <a:avLst/>
          </a:prstGeom>
        </p:spPr>
        <p:txBody>
          <a:bodyPr anchor="b" anchorCtr="0"/>
          <a:lstStyle>
            <a:lvl1pPr>
              <a:defRPr b="1" i="0">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F7FEFE84-A11C-064B-94AA-8B509E826942}"/>
              </a:ext>
            </a:extLst>
          </p:cNvPr>
          <p:cNvSpPr>
            <a:spLocks noGrp="1"/>
          </p:cNvSpPr>
          <p:nvPr>
            <p:ph idx="1"/>
          </p:nvPr>
        </p:nvSpPr>
        <p:spPr>
          <a:xfrm>
            <a:off x="390222" y="1430453"/>
            <a:ext cx="5511114" cy="4821891"/>
          </a:xfrm>
          <a:prstGeom prst="rect">
            <a:avLst/>
          </a:prstGeom>
        </p:spPr>
        <p:txBody>
          <a:bodyPr/>
          <a:lstStyle>
            <a:lvl1pPr>
              <a:lnSpc>
                <a:spcPct val="100000"/>
              </a:lnSpc>
              <a:defRPr b="0" i="0">
                <a:latin typeface="Calibri" panose="020F0502020204030204" pitchFamily="34" charset="0"/>
                <a:cs typeface="Calibri" panose="020F0502020204030204" pitchFamily="34" charset="0"/>
              </a:defRPr>
            </a:lvl1pPr>
            <a:lvl2pPr>
              <a:defRPr b="0" i="0">
                <a:latin typeface="Calibri" panose="020F0502020204030204" pitchFamily="34" charset="0"/>
                <a:cs typeface="Calibri" panose="020F0502020204030204" pitchFamily="34" charset="0"/>
              </a:defRPr>
            </a:lvl2pPr>
            <a:lvl3pPr>
              <a:defRPr b="0" i="0">
                <a:latin typeface="Calibri" panose="020F0502020204030204" pitchFamily="34" charset="0"/>
                <a:cs typeface="Calibri" panose="020F0502020204030204" pitchFamily="34" charset="0"/>
              </a:defRPr>
            </a:lvl3pPr>
            <a:lvl4pPr>
              <a:defRPr b="0" i="0">
                <a:latin typeface="Calibri" panose="020F0502020204030204" pitchFamily="34" charset="0"/>
                <a:cs typeface="Calibri" panose="020F0502020204030204" pitchFamily="34" charset="0"/>
              </a:defRPr>
            </a:lvl4pPr>
            <a:lvl5pPr>
              <a:defRPr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Picture Placeholder 5">
            <a:extLst>
              <a:ext uri="{FF2B5EF4-FFF2-40B4-BE49-F238E27FC236}">
                <a16:creationId xmlns:a16="http://schemas.microsoft.com/office/drawing/2014/main" id="{10B4AFB5-0D88-0A4C-8B9E-2B154A7EE95B}"/>
              </a:ext>
            </a:extLst>
          </p:cNvPr>
          <p:cNvSpPr>
            <a:spLocks noGrp="1"/>
          </p:cNvSpPr>
          <p:nvPr>
            <p:ph type="pic" sz="quarter" idx="10"/>
          </p:nvPr>
        </p:nvSpPr>
        <p:spPr>
          <a:xfrm>
            <a:off x="6400801" y="0"/>
            <a:ext cx="5791200" cy="6858000"/>
          </a:xfrm>
        </p:spPr>
        <p:txBody>
          <a:bodyPr/>
          <a:lstStyle/>
          <a:p>
            <a:endParaRPr lang="en-US" dirty="0"/>
          </a:p>
        </p:txBody>
      </p:sp>
    </p:spTree>
    <p:extLst>
      <p:ext uri="{BB962C8B-B14F-4D97-AF65-F5344CB8AC3E}">
        <p14:creationId xmlns:p14="http://schemas.microsoft.com/office/powerpoint/2010/main" val="2156808605"/>
      </p:ext>
    </p:extLst>
  </p:cSld>
  <p:clrMapOvr>
    <a:masterClrMapping/>
  </p:clrMapOvr>
  <p:extLst>
    <p:ext uri="{DCECCB84-F9BA-43D5-87BE-67443E8EF086}">
      <p15:sldGuideLst xmlns:p15="http://schemas.microsoft.com/office/powerpoint/2012/main">
        <p15:guide id="1" orient="horz" pos="504">
          <p15:clr>
            <a:srgbClr val="FBAE40"/>
          </p15:clr>
        </p15:guide>
        <p15:guide id="2" orient="horz" pos="78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30237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0222" y="-287117"/>
            <a:ext cx="11491154" cy="1098823"/>
          </a:xfrm>
          <a:prstGeom prst="rect">
            <a:avLst/>
          </a:prstGeom>
        </p:spPr>
        <p:txBody>
          <a:bodyPr/>
          <a:lstStyle>
            <a:lvl1pPr>
              <a:defRPr>
                <a:latin typeface="+mn-lt"/>
                <a:ea typeface="Dax-Regular" charset="0"/>
                <a:cs typeface="Dax-Regular" charset="0"/>
              </a:defRPr>
            </a:lvl1pPr>
          </a:lstStyle>
          <a:p>
            <a:r>
              <a:rPr lang="en-US"/>
              <a:t>CLICK TO EDIT MASTER TITLE STYLE</a:t>
            </a:r>
          </a:p>
        </p:txBody>
      </p:sp>
      <p:sp>
        <p:nvSpPr>
          <p:cNvPr id="3" name="Content Placeholder 2"/>
          <p:cNvSpPr>
            <a:spLocks noGrp="1"/>
          </p:cNvSpPr>
          <p:nvPr>
            <p:ph idx="1"/>
          </p:nvPr>
        </p:nvSpPr>
        <p:spPr>
          <a:xfrm>
            <a:off x="760817" y="1541422"/>
            <a:ext cx="11074132" cy="4641668"/>
          </a:xfrm>
        </p:spPr>
        <p:txBody>
          <a:bodyPr/>
          <a:lstStyle>
            <a:lvl1pPr>
              <a:lnSpc>
                <a:spcPct val="100000"/>
              </a:lnSpc>
              <a:spcBef>
                <a:spcPts val="1200"/>
              </a:spcBef>
              <a:spcAft>
                <a:spcPts val="0"/>
              </a:spcAft>
              <a:defRPr>
                <a:latin typeface="+mn-lt"/>
              </a:defRPr>
            </a:lvl1pPr>
            <a:lvl2pPr marL="493713" indent="-227013">
              <a:lnSpc>
                <a:spcPct val="100000"/>
              </a:lnSpc>
              <a:spcBef>
                <a:spcPts val="600"/>
              </a:spcBef>
              <a:spcAft>
                <a:spcPts val="600"/>
              </a:spcAft>
              <a:buFont typeface="Cambria Math" panose="02040503050406030204" pitchFamily="18" charset="0"/>
              <a:buChar char="⎯"/>
              <a:tabLst/>
              <a:defRPr>
                <a:latin typeface="+mn-lt"/>
              </a:defRPr>
            </a:lvl2pPr>
            <a:lvl3pPr>
              <a:lnSpc>
                <a:spcPct val="100000"/>
              </a:lnSpc>
              <a:defRPr>
                <a:latin typeface="+mn-lt"/>
              </a:defRPr>
            </a:lvl3pPr>
            <a:lvl4pPr>
              <a:lnSpc>
                <a:spcPct val="100000"/>
              </a:lnSpc>
              <a:defRPr>
                <a:latin typeface="+mn-lt"/>
              </a:defRPr>
            </a:lvl4pPr>
            <a:lvl5pPr>
              <a:lnSpc>
                <a:spcPct val="100000"/>
              </a:lnSpc>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DB413D3-0593-804C-9EF7-3AC104F1845C}" type="datetimeFigureOut">
              <a:rPr lang="en-US" smtClean="0"/>
              <a:t>11/20/2022</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00547D0B-E511-9643-89FB-622DC7E766AE}" type="slidenum">
              <a:rPr lang="en-US" smtClean="0"/>
              <a:t>‹#›</a:t>
            </a:fld>
            <a:endParaRPr lang="en-US" dirty="0"/>
          </a:p>
        </p:txBody>
      </p:sp>
      <p:sp>
        <p:nvSpPr>
          <p:cNvPr id="8" name="Text Placeholder 7"/>
          <p:cNvSpPr>
            <a:spLocks noGrp="1"/>
          </p:cNvSpPr>
          <p:nvPr>
            <p:ph type="body" sz="quarter" idx="13" hasCustomPrompt="1"/>
          </p:nvPr>
        </p:nvSpPr>
        <p:spPr>
          <a:xfrm>
            <a:off x="760815" y="960870"/>
            <a:ext cx="9245197" cy="484753"/>
          </a:xfrm>
        </p:spPr>
        <p:txBody>
          <a:bodyPr>
            <a:normAutofit/>
          </a:bodyPr>
          <a:lstStyle>
            <a:lvl1pPr marL="0" indent="0">
              <a:buNone/>
              <a:defRPr sz="2000" b="1">
                <a:latin typeface="+mn-lt"/>
                <a:ea typeface="Dax-Medium" pitchFamily="2" charset="0"/>
                <a:cs typeface="Dax-Medium" pitchFamily="2" charset="0"/>
              </a:defRPr>
            </a:lvl1pPr>
          </a:lstStyle>
          <a:p>
            <a:pPr lvl="0"/>
            <a:r>
              <a:rPr lang="en-US"/>
              <a:t>Click to edit Master subtitle</a:t>
            </a:r>
          </a:p>
        </p:txBody>
      </p:sp>
    </p:spTree>
    <p:extLst>
      <p:ext uri="{BB962C8B-B14F-4D97-AF65-F5344CB8AC3E}">
        <p14:creationId xmlns:p14="http://schemas.microsoft.com/office/powerpoint/2010/main" val="3668753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0222" y="-287117"/>
            <a:ext cx="11491154" cy="1098823"/>
          </a:xfrm>
          <a:prstGeom prst="rect">
            <a:avLst/>
          </a:prstGeom>
        </p:spPr>
        <p:txBody>
          <a:bodyPr/>
          <a:lstStyle>
            <a:lvl1pPr>
              <a:defRPr>
                <a:latin typeface="+mn-lt"/>
                <a:ea typeface="Dax-Regular" charset="0"/>
                <a:cs typeface="Dax-Regular" charset="0"/>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00547D0B-E511-9643-89FB-622DC7E766AE}" type="slidenum">
              <a:rPr lang="en-US" smtClean="0"/>
              <a:t>‹#›</a:t>
            </a:fld>
            <a:endParaRPr lang="en-US" dirty="0"/>
          </a:p>
        </p:txBody>
      </p:sp>
      <p:sp>
        <p:nvSpPr>
          <p:cNvPr id="8" name="Text Placeholder 7"/>
          <p:cNvSpPr>
            <a:spLocks noGrp="1"/>
          </p:cNvSpPr>
          <p:nvPr>
            <p:ph type="body" sz="quarter" idx="13" hasCustomPrompt="1"/>
          </p:nvPr>
        </p:nvSpPr>
        <p:spPr>
          <a:xfrm>
            <a:off x="760815" y="960870"/>
            <a:ext cx="9245197" cy="484753"/>
          </a:xfrm>
        </p:spPr>
        <p:txBody>
          <a:bodyPr>
            <a:normAutofit/>
          </a:bodyPr>
          <a:lstStyle>
            <a:lvl1pPr marL="0" indent="0">
              <a:buNone/>
              <a:defRPr sz="2000" b="1">
                <a:latin typeface="+mn-lt"/>
                <a:ea typeface="Dax-Medium" pitchFamily="2" charset="0"/>
                <a:cs typeface="Dax-Medium" pitchFamily="2" charset="0"/>
              </a:defRPr>
            </a:lvl1pPr>
          </a:lstStyle>
          <a:p>
            <a:pPr lvl="0"/>
            <a:r>
              <a:rPr lang="en-US"/>
              <a:t>Click to edit Master subtitle</a:t>
            </a:r>
          </a:p>
        </p:txBody>
      </p:sp>
    </p:spTree>
    <p:extLst>
      <p:ext uri="{BB962C8B-B14F-4D97-AF65-F5344CB8AC3E}">
        <p14:creationId xmlns:p14="http://schemas.microsoft.com/office/powerpoint/2010/main" val="19086455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_Subtitle_1_3 x text box">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0222" y="-287117"/>
            <a:ext cx="11491154" cy="109882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760817" y="1392702"/>
            <a:ext cx="3470004" cy="478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62880" y="1392702"/>
            <a:ext cx="3470004" cy="478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00547D0B-E511-9643-89FB-622DC7E766AE}" type="slidenum">
              <a:rPr lang="en-US" smtClean="0"/>
              <a:t>‹#›</a:t>
            </a:fld>
            <a:endParaRPr lang="en-US" dirty="0"/>
          </a:p>
        </p:txBody>
      </p:sp>
      <p:sp>
        <p:nvSpPr>
          <p:cNvPr id="9" name="Content Placeholder 8">
            <a:extLst>
              <a:ext uri="{FF2B5EF4-FFF2-40B4-BE49-F238E27FC236}">
                <a16:creationId xmlns:a16="http://schemas.microsoft.com/office/drawing/2014/main" id="{B9F04FB3-E84E-0A46-8FB0-3542909A8B97}"/>
              </a:ext>
            </a:extLst>
          </p:cNvPr>
          <p:cNvSpPr>
            <a:spLocks noGrp="1"/>
          </p:cNvSpPr>
          <p:nvPr>
            <p:ph sz="quarter" idx="13"/>
          </p:nvPr>
        </p:nvSpPr>
        <p:spPr>
          <a:xfrm>
            <a:off x="8364944" y="1392238"/>
            <a:ext cx="3470004" cy="47847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B84BE72E-B409-0D44-B7F3-4E14DBC3D59A}"/>
              </a:ext>
            </a:extLst>
          </p:cNvPr>
          <p:cNvSpPr>
            <a:spLocks noGrp="1"/>
          </p:cNvSpPr>
          <p:nvPr>
            <p:ph type="body" sz="quarter" idx="14" hasCustomPrompt="1"/>
          </p:nvPr>
        </p:nvSpPr>
        <p:spPr>
          <a:xfrm>
            <a:off x="760815" y="960870"/>
            <a:ext cx="9245197" cy="484753"/>
          </a:xfrm>
        </p:spPr>
        <p:txBody>
          <a:bodyPr>
            <a:normAutofit/>
          </a:bodyPr>
          <a:lstStyle>
            <a:lvl1pPr marL="0" indent="0">
              <a:buNone/>
              <a:defRPr sz="2000" b="1">
                <a:latin typeface="+mn-lt"/>
                <a:ea typeface="Dax-Medium" pitchFamily="2" charset="0"/>
                <a:cs typeface="Dax-Medium" pitchFamily="2" charset="0"/>
              </a:defRPr>
            </a:lvl1pPr>
          </a:lstStyle>
          <a:p>
            <a:pPr lvl="0"/>
            <a:r>
              <a:rPr lang="en-US"/>
              <a:t>Click to edit Master subtitle</a:t>
            </a:r>
          </a:p>
        </p:txBody>
      </p:sp>
    </p:spTree>
    <p:extLst>
      <p:ext uri="{BB962C8B-B14F-4D97-AF65-F5344CB8AC3E}">
        <p14:creationId xmlns:p14="http://schemas.microsoft.com/office/powerpoint/2010/main" val="1912523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Content slide option 2">
    <p:spTree>
      <p:nvGrpSpPr>
        <p:cNvPr id="1" name=""/>
        <p:cNvGrpSpPr/>
        <p:nvPr/>
      </p:nvGrpSpPr>
      <p:grpSpPr>
        <a:xfrm>
          <a:off x="0" y="0"/>
          <a:ext cx="0" cy="0"/>
          <a:chOff x="0" y="0"/>
          <a:chExt cx="0" cy="0"/>
        </a:xfrm>
      </p:grpSpPr>
      <p:sp>
        <p:nvSpPr>
          <p:cNvPr id="13" name="Rectangle 12"/>
          <p:cNvSpPr/>
          <p:nvPr/>
        </p:nvSpPr>
        <p:spPr>
          <a:xfrm>
            <a:off x="2" y="-1"/>
            <a:ext cx="12191999" cy="9648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19" name="Straight Connector 18"/>
          <p:cNvCxnSpPr>
            <a:cxnSpLocks/>
          </p:cNvCxnSpPr>
          <p:nvPr/>
        </p:nvCxnSpPr>
        <p:spPr>
          <a:xfrm>
            <a:off x="0" y="955539"/>
            <a:ext cx="1219200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36F8FF8F-AB04-42D2-8382-CCA15D808198}"/>
              </a:ext>
            </a:extLst>
          </p:cNvPr>
          <p:cNvGraphicFramePr>
            <a:graphicFrameLocks noChangeAspect="1"/>
          </p:cNvGraphicFramePr>
          <p:nvPr>
            <p:custDataLst>
              <p:tags r:id="rId1"/>
            </p:custDataLst>
            <p:extLst>
              <p:ext uri="{D42A27DB-BD31-4B8C-83A1-F6EECF244321}">
                <p14:modId xmlns:p14="http://schemas.microsoft.com/office/powerpoint/2010/main" val="3775542848"/>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36F8FF8F-AB04-42D2-8382-CCA15D8081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 name="Straight Connector 8"/>
          <p:cNvCxnSpPr>
            <a:cxnSpLocks/>
          </p:cNvCxnSpPr>
          <p:nvPr/>
        </p:nvCxnSpPr>
        <p:spPr>
          <a:xfrm>
            <a:off x="0" y="955539"/>
            <a:ext cx="12192000" cy="0"/>
          </a:xfrm>
          <a:prstGeom prst="line">
            <a:avLst/>
          </a:prstGeom>
          <a:ln w="19050">
            <a:solidFill>
              <a:srgbClr val="595959"/>
            </a:solidFill>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3CCA13B7-D658-4842-BE20-371488FFED0B}"/>
              </a:ext>
            </a:extLst>
          </p:cNvPr>
          <p:cNvSpPr>
            <a:spLocks noGrp="1"/>
          </p:cNvSpPr>
          <p:nvPr>
            <p:ph sz="quarter" idx="14" hasCustomPrompt="1"/>
          </p:nvPr>
        </p:nvSpPr>
        <p:spPr>
          <a:xfrm>
            <a:off x="225416" y="1198551"/>
            <a:ext cx="11155890" cy="5022253"/>
          </a:xfrm>
        </p:spPr>
        <p:txBody>
          <a:bodyPr>
            <a:normAutofit/>
          </a:bodyPr>
          <a:lstStyle>
            <a:lvl1pPr marL="266700" indent="-266700">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a:t>
            </a:r>
            <a:r>
              <a:rPr lang="en-US" err="1"/>
              <a:t>leve</a:t>
            </a:r>
            <a:endParaRPr lang="en-AU"/>
          </a:p>
        </p:txBody>
      </p:sp>
      <p:sp>
        <p:nvSpPr>
          <p:cNvPr id="8" name="Slide Number Placeholder 4">
            <a:extLst>
              <a:ext uri="{FF2B5EF4-FFF2-40B4-BE49-F238E27FC236}">
                <a16:creationId xmlns:a16="http://schemas.microsoft.com/office/drawing/2014/main" id="{25A081AD-DA50-49F6-B956-2CE4C6C7B5C9}"/>
              </a:ext>
            </a:extLst>
          </p:cNvPr>
          <p:cNvSpPr>
            <a:spLocks noGrp="1"/>
          </p:cNvSpPr>
          <p:nvPr>
            <p:ph type="sldNum" sz="quarter" idx="19"/>
          </p:nvPr>
        </p:nvSpPr>
        <p:spPr>
          <a:xfrm>
            <a:off x="9347200" y="6480177"/>
            <a:ext cx="2743200" cy="365125"/>
          </a:xfrm>
        </p:spPr>
        <p:txBody>
          <a:bodyPr/>
          <a:lstStyle/>
          <a:p>
            <a:fld id="{917D8CA0-6BCE-4D48-829A-86331927E854}" type="slidenum">
              <a:rPr lang="en-AU" smtClean="0"/>
              <a:pPr/>
              <a:t>‹#›</a:t>
            </a:fld>
            <a:endParaRPr lang="en-AU" dirty="0"/>
          </a:p>
        </p:txBody>
      </p:sp>
      <p:sp>
        <p:nvSpPr>
          <p:cNvPr id="16" name="Text Placeholder 2">
            <a:extLst>
              <a:ext uri="{FF2B5EF4-FFF2-40B4-BE49-F238E27FC236}">
                <a16:creationId xmlns:a16="http://schemas.microsoft.com/office/drawing/2014/main" id="{5DEC0F5C-0956-4A7A-9A21-B1BFE479645A}"/>
              </a:ext>
            </a:extLst>
          </p:cNvPr>
          <p:cNvSpPr>
            <a:spLocks noGrp="1"/>
          </p:cNvSpPr>
          <p:nvPr>
            <p:ph type="body" sz="quarter" idx="10" hasCustomPrompt="1"/>
          </p:nvPr>
        </p:nvSpPr>
        <p:spPr>
          <a:xfrm>
            <a:off x="0" y="0"/>
            <a:ext cx="11876832" cy="992312"/>
          </a:xfrm>
          <a:prstGeom prst="rect">
            <a:avLst/>
          </a:prstGeom>
        </p:spPr>
        <p:txBody>
          <a:bodyPr lIns="0" tIns="0" rIns="0" bIns="0" anchor="ctr">
            <a:normAutofit/>
          </a:bodyPr>
          <a:lstStyle>
            <a:lvl1pPr marL="287338" indent="0">
              <a:lnSpc>
                <a:spcPts val="3000"/>
              </a:lnSpc>
              <a:buNone/>
              <a:defRPr sz="2800" b="1">
                <a:solidFill>
                  <a:schemeClr val="bg1"/>
                </a:solidFill>
                <a:latin typeface="Calibri" pitchFamily="34" charset="0"/>
              </a:defRPr>
            </a:lvl1pPr>
            <a:lvl2pPr marL="457200" indent="0">
              <a:buNone/>
              <a:defRPr sz="3200" b="1">
                <a:solidFill>
                  <a:schemeClr val="tx1">
                    <a:lumMod val="65000"/>
                    <a:lumOff val="35000"/>
                  </a:schemeClr>
                </a:solidFill>
              </a:defRPr>
            </a:lvl2pPr>
            <a:lvl3pPr marL="914400" indent="0">
              <a:buNone/>
              <a:defRPr sz="3200" b="1">
                <a:solidFill>
                  <a:schemeClr val="tx1">
                    <a:lumMod val="65000"/>
                    <a:lumOff val="35000"/>
                  </a:schemeClr>
                </a:solidFill>
              </a:defRPr>
            </a:lvl3pPr>
            <a:lvl4pPr marL="1371600" indent="0">
              <a:buNone/>
              <a:defRPr sz="3200" b="1">
                <a:solidFill>
                  <a:schemeClr val="tx1">
                    <a:lumMod val="65000"/>
                    <a:lumOff val="35000"/>
                  </a:schemeClr>
                </a:solidFill>
              </a:defRPr>
            </a:lvl4pPr>
            <a:lvl5pPr marL="1828800" indent="0">
              <a:buNone/>
              <a:defRPr sz="3200" b="1">
                <a:solidFill>
                  <a:schemeClr val="tx1">
                    <a:lumMod val="65000"/>
                    <a:lumOff val="35000"/>
                  </a:schemeClr>
                </a:solidFill>
              </a:defRPr>
            </a:lvl5pPr>
          </a:lstStyle>
          <a:p>
            <a:pPr lvl="0"/>
            <a:r>
              <a:rPr lang="en-US"/>
              <a:t>Click to edit Title</a:t>
            </a:r>
            <a:endParaRPr lang="en-AU"/>
          </a:p>
        </p:txBody>
      </p:sp>
    </p:spTree>
    <p:extLst>
      <p:ext uri="{BB962C8B-B14F-4D97-AF65-F5344CB8AC3E}">
        <p14:creationId xmlns:p14="http://schemas.microsoft.com/office/powerpoint/2010/main" val="3416060949"/>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Cover Title  Slide">
    <p:spTree>
      <p:nvGrpSpPr>
        <p:cNvPr id="1" name=""/>
        <p:cNvGrpSpPr/>
        <p:nvPr/>
      </p:nvGrpSpPr>
      <p:grpSpPr>
        <a:xfrm>
          <a:off x="0" y="0"/>
          <a:ext cx="0" cy="0"/>
          <a:chOff x="0" y="0"/>
          <a:chExt cx="0" cy="0"/>
        </a:xfrm>
      </p:grpSpPr>
      <p:sp>
        <p:nvSpPr>
          <p:cNvPr id="11" name="Pentagon 10"/>
          <p:cNvSpPr/>
          <p:nvPr/>
        </p:nvSpPr>
        <p:spPr>
          <a:xfrm>
            <a:off x="0" y="5038727"/>
            <a:ext cx="7766050" cy="1819275"/>
          </a:xfrm>
          <a:prstGeom prst="homePlate">
            <a:avLst>
              <a:gd name="adj" fmla="val 194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a:extLst>
              <a:ext uri="{FF2B5EF4-FFF2-40B4-BE49-F238E27FC236}">
                <a16:creationId xmlns:a16="http://schemas.microsoft.com/office/drawing/2014/main" id="{C4883FFB-204D-405F-B773-193C6EF7B803}"/>
              </a:ext>
            </a:extLst>
          </p:cNvPr>
          <p:cNvGraphicFramePr>
            <a:graphicFrameLocks noChangeAspect="1"/>
          </p:cNvGraphicFramePr>
          <p:nvPr>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a:extLst>
                          <a:ext uri="{FF2B5EF4-FFF2-40B4-BE49-F238E27FC236}">
                            <a16:creationId xmlns:a16="http://schemas.microsoft.com/office/drawing/2014/main" id="{C4883FFB-204D-405F-B773-193C6EF7B8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F348F8C3-387D-48FF-9B31-9F49FD2A921A}"/>
              </a:ext>
            </a:extLst>
          </p:cNvPr>
          <p:cNvSpPr/>
          <p:nvPr>
            <p:custDataLst>
              <p:tags r:id="rId2"/>
            </p:custDataLst>
          </p:nvPr>
        </p:nvSpPr>
        <p:spPr>
          <a:xfrm>
            <a:off x="1" y="0"/>
            <a:ext cx="21166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1" i="0" baseline="0" dirty="0">
              <a:latin typeface="Dax"/>
              <a:ea typeface="+mj-ea"/>
              <a:cs typeface="+mj-cs"/>
              <a:sym typeface="Dax"/>
            </a:endParaRPr>
          </a:p>
        </p:txBody>
      </p:sp>
      <p:sp>
        <p:nvSpPr>
          <p:cNvPr id="2" name="Title 1">
            <a:extLst>
              <a:ext uri="{FF2B5EF4-FFF2-40B4-BE49-F238E27FC236}">
                <a16:creationId xmlns:a16="http://schemas.microsoft.com/office/drawing/2014/main" id="{08A0EC45-8B20-455D-8D93-65AE8C5C9403}"/>
              </a:ext>
            </a:extLst>
          </p:cNvPr>
          <p:cNvSpPr>
            <a:spLocks noGrp="1"/>
          </p:cNvSpPr>
          <p:nvPr>
            <p:ph type="title" hasCustomPrompt="1"/>
          </p:nvPr>
        </p:nvSpPr>
        <p:spPr>
          <a:xfrm>
            <a:off x="240506" y="4876802"/>
            <a:ext cx="7215690" cy="808767"/>
          </a:xfrm>
          <a:prstGeom prst="rect">
            <a:avLst/>
          </a:prstGeom>
        </p:spPr>
        <p:txBody>
          <a:bodyPr anchor="b">
            <a:normAutofit/>
          </a:bodyPr>
          <a:lstStyle>
            <a:lvl1pPr algn="l">
              <a:lnSpc>
                <a:spcPts val="3400"/>
              </a:lnSpc>
              <a:defRPr sz="3200" b="1">
                <a:solidFill>
                  <a:schemeClr val="bg1"/>
                </a:solidFill>
                <a:latin typeface="Calibri" pitchFamily="34" charset="0"/>
              </a:defRPr>
            </a:lvl1pPr>
          </a:lstStyle>
          <a:p>
            <a:r>
              <a:rPr lang="en-US"/>
              <a:t>Click to add title</a:t>
            </a:r>
            <a:endParaRPr lang="en-AU"/>
          </a:p>
        </p:txBody>
      </p:sp>
      <p:sp>
        <p:nvSpPr>
          <p:cNvPr id="74" name="Subtitle 2"/>
          <p:cNvSpPr>
            <a:spLocks noGrp="1"/>
          </p:cNvSpPr>
          <p:nvPr>
            <p:ph type="subTitle" idx="1"/>
          </p:nvPr>
        </p:nvSpPr>
        <p:spPr>
          <a:xfrm>
            <a:off x="240508" y="5611081"/>
            <a:ext cx="7232277" cy="528347"/>
          </a:xfrm>
        </p:spPr>
        <p:txBody>
          <a:bodyPr>
            <a:normAutofit/>
          </a:bodyPr>
          <a:lstStyle>
            <a:lvl1pPr algn="l">
              <a:buNone/>
              <a:defRPr sz="2000">
                <a:solidFill>
                  <a:schemeClr val="bg1"/>
                </a:solidFill>
              </a:defRPr>
            </a:lvl1pPr>
          </a:lstStyle>
          <a:p>
            <a:r>
              <a:rPr lang="en-US"/>
              <a:t>Click to edit Master subtitle style</a:t>
            </a:r>
          </a:p>
        </p:txBody>
      </p:sp>
      <p:sp>
        <p:nvSpPr>
          <p:cNvPr id="13" name="Text Placeholder 12"/>
          <p:cNvSpPr>
            <a:spLocks noGrp="1"/>
          </p:cNvSpPr>
          <p:nvPr>
            <p:ph type="body" sz="quarter" idx="10" hasCustomPrompt="1"/>
          </p:nvPr>
        </p:nvSpPr>
        <p:spPr>
          <a:xfrm>
            <a:off x="240177" y="6319578"/>
            <a:ext cx="5209118" cy="379412"/>
          </a:xfrm>
        </p:spPr>
        <p:txBody>
          <a:bodyPr/>
          <a:lstStyle>
            <a:lvl1pPr marL="0" indent="0">
              <a:buNone/>
              <a:defRPr sz="1400">
                <a:solidFill>
                  <a:schemeClr val="bg1"/>
                </a:solidFill>
              </a:defRPr>
            </a:lvl1pPr>
          </a:lstStyle>
          <a:p>
            <a:pPr lvl="0"/>
            <a:r>
              <a:rPr lang="en-US"/>
              <a:t>Date</a:t>
            </a:r>
          </a:p>
        </p:txBody>
      </p:sp>
      <p:pic>
        <p:nvPicPr>
          <p:cNvPr id="14" name="Picture 13" descr="IPL_logo_tagline_2018.jpg"/>
          <p:cNvPicPr>
            <a:picLocks noChangeAspect="1"/>
          </p:cNvPicPr>
          <p:nvPr/>
        </p:nvPicPr>
        <p:blipFill>
          <a:blip r:embed="rId6" cstate="print"/>
          <a:stretch>
            <a:fillRect/>
          </a:stretch>
        </p:blipFill>
        <p:spPr>
          <a:xfrm>
            <a:off x="8069943" y="5924164"/>
            <a:ext cx="3808566" cy="612840"/>
          </a:xfrm>
          <a:prstGeom prst="rect">
            <a:avLst/>
          </a:prstGeom>
        </p:spPr>
      </p:pic>
      <p:sp>
        <p:nvSpPr>
          <p:cNvPr id="16" name="Picture Placeholder 15"/>
          <p:cNvSpPr>
            <a:spLocks noGrp="1"/>
          </p:cNvSpPr>
          <p:nvPr>
            <p:ph type="pic" sz="quarter" idx="11" hasCustomPrompt="1"/>
          </p:nvPr>
        </p:nvSpPr>
        <p:spPr>
          <a:xfrm>
            <a:off x="0" y="-1"/>
            <a:ext cx="12192000" cy="5038531"/>
          </a:xfrm>
        </p:spPr>
        <p:txBody>
          <a:bodyPr anchor="ctr"/>
          <a:lstStyle>
            <a:lvl1pPr marL="0" marR="0" indent="0" algn="ctr" defTabSz="914400" rtl="0" eaLnBrk="1" fontAlgn="auto" latinLnBrk="0" hangingPunct="1">
              <a:lnSpc>
                <a:spcPct val="90000"/>
              </a:lnSpc>
              <a:spcBef>
                <a:spcPts val="1000"/>
              </a:spcBef>
              <a:spcAft>
                <a:spcPts val="0"/>
              </a:spcAft>
              <a:buClrTx/>
              <a:buSzTx/>
              <a:buFont typeface="Wingdings" panose="05000000000000000000" pitchFamily="2" charset="2"/>
              <a:buNone/>
              <a:tabLst/>
              <a:defRPr/>
            </a:lvl1pPr>
          </a:lstStyle>
          <a:p>
            <a:r>
              <a:rPr lang="en-US" dirty="0"/>
              <a:t>Insert Picture here to fit this frame</a:t>
            </a:r>
            <a:br>
              <a:rPr lang="en-US" dirty="0"/>
            </a:br>
            <a:r>
              <a:rPr lang="en-US" dirty="0"/>
              <a:t>(visit the Corporate Image Library on The Hub)</a:t>
            </a:r>
          </a:p>
        </p:txBody>
      </p:sp>
    </p:spTree>
    <p:extLst>
      <p:ext uri="{BB962C8B-B14F-4D97-AF65-F5344CB8AC3E}">
        <p14:creationId xmlns:p14="http://schemas.microsoft.com/office/powerpoint/2010/main" val="2138438223"/>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xternal Title Slide Option 2">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1A518A73-3993-D040-9D30-E37C2852975E}"/>
              </a:ext>
            </a:extLst>
          </p:cNvPr>
          <p:cNvSpPr/>
          <p:nvPr userDrawn="1"/>
        </p:nvSpPr>
        <p:spPr>
          <a:xfrm>
            <a:off x="9981786"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1C9D6E4C-ADE4-0C4C-A481-7EB4F7BB53B0}"/>
              </a:ext>
            </a:extLst>
          </p:cNvPr>
          <p:cNvSpPr/>
          <p:nvPr userDrawn="1"/>
        </p:nvSpPr>
        <p:spPr>
          <a:xfrm>
            <a:off x="11114609" y="-17958"/>
            <a:ext cx="1077391" cy="703820"/>
          </a:xfrm>
          <a:custGeom>
            <a:avLst/>
            <a:gdLst>
              <a:gd name="connsiteX0" fmla="*/ 0 w 1077391"/>
              <a:gd name="connsiteY0" fmla="*/ 0 h 703820"/>
              <a:gd name="connsiteX1" fmla="*/ 1077391 w 1077391"/>
              <a:gd name="connsiteY1" fmla="*/ 0 h 703820"/>
              <a:gd name="connsiteX2" fmla="*/ 1077391 w 1077391"/>
              <a:gd name="connsiteY2" fmla="*/ 703531 h 703820"/>
              <a:gd name="connsiteX3" fmla="*/ 1074853 w 1077391"/>
              <a:gd name="connsiteY3" fmla="*/ 703820 h 703820"/>
              <a:gd name="connsiteX4" fmla="*/ 993783 w 1077391"/>
              <a:gd name="connsiteY4" fmla="*/ 684142 h 703820"/>
              <a:gd name="connsiteX5" fmla="*/ 81113 w 1077391"/>
              <a:gd name="connsiteY5" fmla="*/ 152636 h 703820"/>
              <a:gd name="connsiteX6" fmla="*/ 0 w 1077391"/>
              <a:gd name="connsiteY6" fmla="*/ 11485 h 70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391" h="703820">
                <a:moveTo>
                  <a:pt x="0" y="0"/>
                </a:moveTo>
                <a:lnTo>
                  <a:pt x="1077391" y="0"/>
                </a:lnTo>
                <a:lnTo>
                  <a:pt x="1077391" y="703531"/>
                </a:lnTo>
                <a:lnTo>
                  <a:pt x="1074853" y="703820"/>
                </a:lnTo>
                <a:cubicBezTo>
                  <a:pt x="1045510" y="703820"/>
                  <a:pt x="1016167" y="697261"/>
                  <a:pt x="993783" y="684142"/>
                </a:cubicBezTo>
                <a:lnTo>
                  <a:pt x="81113" y="152636"/>
                </a:lnTo>
                <a:cubicBezTo>
                  <a:pt x="36302" y="126575"/>
                  <a:pt x="0" y="63389"/>
                  <a:pt x="0" y="11485"/>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7" name="Freeform 6">
            <a:extLst>
              <a:ext uri="{FF2B5EF4-FFF2-40B4-BE49-F238E27FC236}">
                <a16:creationId xmlns:a16="http://schemas.microsoft.com/office/drawing/2014/main" id="{F10F3C5F-DCC1-294B-AF83-9C6F6456505B}"/>
              </a:ext>
            </a:extLst>
          </p:cNvPr>
          <p:cNvSpPr/>
          <p:nvPr userDrawn="1"/>
        </p:nvSpPr>
        <p:spPr>
          <a:xfrm>
            <a:off x="8828609"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1" y="126400"/>
                  <a:pt x="2068723" y="152636"/>
                </a:cubicBezTo>
                <a:lnTo>
                  <a:pt x="1155923" y="684142"/>
                </a:lnTo>
                <a:cubicBezTo>
                  <a:pt x="1111155" y="710379"/>
                  <a:pt x="1038550" y="710379"/>
                  <a:pt x="993783" y="684142"/>
                </a:cubicBezTo>
                <a:lnTo>
                  <a:pt x="81113" y="152636"/>
                </a:lnTo>
                <a:cubicBezTo>
                  <a:pt x="36302" y="126575"/>
                  <a:pt x="0" y="63389"/>
                  <a:pt x="0" y="11485"/>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8" name="Freeform 7">
            <a:extLst>
              <a:ext uri="{FF2B5EF4-FFF2-40B4-BE49-F238E27FC236}">
                <a16:creationId xmlns:a16="http://schemas.microsoft.com/office/drawing/2014/main" id="{390A3B4B-54EB-4642-AF36-0E740E8F756D}"/>
              </a:ext>
            </a:extLst>
          </p:cNvPr>
          <p:cNvSpPr/>
          <p:nvPr userDrawn="1"/>
        </p:nvSpPr>
        <p:spPr>
          <a:xfrm>
            <a:off x="6568986"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0" y="126400"/>
                  <a:pt x="2068723" y="152636"/>
                </a:cubicBezTo>
                <a:lnTo>
                  <a:pt x="1155923" y="684142"/>
                </a:lnTo>
                <a:cubicBezTo>
                  <a:pt x="1111156" y="710379"/>
                  <a:pt x="1038550" y="710379"/>
                  <a:pt x="993783" y="684142"/>
                </a:cubicBezTo>
                <a:lnTo>
                  <a:pt x="81113" y="152636"/>
                </a:lnTo>
                <a:cubicBezTo>
                  <a:pt x="36302" y="126575"/>
                  <a:pt x="0" y="63389"/>
                  <a:pt x="0" y="11485"/>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9" name="Freeform 8">
            <a:extLst>
              <a:ext uri="{FF2B5EF4-FFF2-40B4-BE49-F238E27FC236}">
                <a16:creationId xmlns:a16="http://schemas.microsoft.com/office/drawing/2014/main" id="{879AF698-51E1-E04B-873E-88DE28D62B6E}"/>
              </a:ext>
            </a:extLst>
          </p:cNvPr>
          <p:cNvSpPr/>
          <p:nvPr userDrawn="1"/>
        </p:nvSpPr>
        <p:spPr>
          <a:xfrm>
            <a:off x="11135898" y="6237570"/>
            <a:ext cx="1056102" cy="620431"/>
          </a:xfrm>
          <a:custGeom>
            <a:avLst/>
            <a:gdLst>
              <a:gd name="connsiteX0" fmla="*/ 1053564 w 1056102"/>
              <a:gd name="connsiteY0" fmla="*/ 0 h 620431"/>
              <a:gd name="connsiteX1" fmla="*/ 1056102 w 1056102"/>
              <a:gd name="connsiteY1" fmla="*/ 290 h 620431"/>
              <a:gd name="connsiteX2" fmla="*/ 1056102 w 1056102"/>
              <a:gd name="connsiteY2" fmla="*/ 620431 h 620431"/>
              <a:gd name="connsiteX3" fmla="*/ 0 w 1056102"/>
              <a:gd name="connsiteY3" fmla="*/ 620431 h 620431"/>
              <a:gd name="connsiteX4" fmla="*/ 2463 w 1056102"/>
              <a:gd name="connsiteY4" fmla="*/ 612112 h 620431"/>
              <a:gd name="connsiteX5" fmla="*/ 59824 w 1056102"/>
              <a:gd name="connsiteY5" fmla="*/ 551140 h 620431"/>
              <a:gd name="connsiteX6" fmla="*/ 972494 w 1056102"/>
              <a:gd name="connsiteY6" fmla="*/ 19678 h 620431"/>
              <a:gd name="connsiteX7" fmla="*/ 1053564 w 1056102"/>
              <a:gd name="connsiteY7"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102" h="620431">
                <a:moveTo>
                  <a:pt x="1053564" y="0"/>
                </a:moveTo>
                <a:lnTo>
                  <a:pt x="1056102" y="290"/>
                </a:lnTo>
                <a:lnTo>
                  <a:pt x="1056102" y="620431"/>
                </a:lnTo>
                <a:lnTo>
                  <a:pt x="0" y="620431"/>
                </a:lnTo>
                <a:lnTo>
                  <a:pt x="2463" y="612112"/>
                </a:lnTo>
                <a:cubicBezTo>
                  <a:pt x="17140" y="586581"/>
                  <a:pt x="37418" y="564258"/>
                  <a:pt x="59824" y="551140"/>
                </a:cubicBezTo>
                <a:lnTo>
                  <a:pt x="972494" y="19678"/>
                </a:lnTo>
                <a:cubicBezTo>
                  <a:pt x="994878" y="6560"/>
                  <a:pt x="1024221" y="0"/>
                  <a:pt x="1053564" y="0"/>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10" name="Freeform 9">
            <a:extLst>
              <a:ext uri="{FF2B5EF4-FFF2-40B4-BE49-F238E27FC236}">
                <a16:creationId xmlns:a16="http://schemas.microsoft.com/office/drawing/2014/main" id="{A076BA73-0C54-F44B-99FB-C84B2E1E42CF}"/>
              </a:ext>
            </a:extLst>
          </p:cNvPr>
          <p:cNvSpPr/>
          <p:nvPr userDrawn="1"/>
        </p:nvSpPr>
        <p:spPr>
          <a:xfrm>
            <a:off x="8849898" y="6237570"/>
            <a:ext cx="2107233" cy="620431"/>
          </a:xfrm>
          <a:custGeom>
            <a:avLst/>
            <a:gdLst>
              <a:gd name="connsiteX0" fmla="*/ 1053564 w 2107233"/>
              <a:gd name="connsiteY0" fmla="*/ 0 h 620431"/>
              <a:gd name="connsiteX1" fmla="*/ 1134634 w 2107233"/>
              <a:gd name="connsiteY1" fmla="*/ 19678 h 620431"/>
              <a:gd name="connsiteX2" fmla="*/ 2047434 w 2107233"/>
              <a:gd name="connsiteY2" fmla="*/ 551140 h 620431"/>
              <a:gd name="connsiteX3" fmla="*/ 2104757 w 2107233"/>
              <a:gd name="connsiteY3" fmla="*/ 612063 h 620431"/>
              <a:gd name="connsiteX4" fmla="*/ 2107233 w 2107233"/>
              <a:gd name="connsiteY4" fmla="*/ 620431 h 620431"/>
              <a:gd name="connsiteX5" fmla="*/ 0 w 2107233"/>
              <a:gd name="connsiteY5" fmla="*/ 620431 h 620431"/>
              <a:gd name="connsiteX6" fmla="*/ 2463 w 2107233"/>
              <a:gd name="connsiteY6" fmla="*/ 612112 h 620431"/>
              <a:gd name="connsiteX7" fmla="*/ 59824 w 2107233"/>
              <a:gd name="connsiteY7" fmla="*/ 551140 h 620431"/>
              <a:gd name="connsiteX8" fmla="*/ 972494 w 2107233"/>
              <a:gd name="connsiteY8" fmla="*/ 19678 h 620431"/>
              <a:gd name="connsiteX9" fmla="*/ 1053564 w 2107233"/>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3" h="620431">
                <a:moveTo>
                  <a:pt x="1053564" y="0"/>
                </a:moveTo>
                <a:cubicBezTo>
                  <a:pt x="1082907" y="0"/>
                  <a:pt x="1112250" y="6560"/>
                  <a:pt x="1134634" y="19678"/>
                </a:cubicBezTo>
                <a:lnTo>
                  <a:pt x="2047434" y="551140"/>
                </a:lnTo>
                <a:cubicBezTo>
                  <a:pt x="2069818" y="564193"/>
                  <a:pt x="2090085" y="586516"/>
                  <a:pt x="2104757" y="612063"/>
                </a:cubicBezTo>
                <a:lnTo>
                  <a:pt x="2107233" y="620431"/>
                </a:lnTo>
                <a:lnTo>
                  <a:pt x="0" y="620431"/>
                </a:lnTo>
                <a:lnTo>
                  <a:pt x="2463" y="612112"/>
                </a:lnTo>
                <a:cubicBezTo>
                  <a:pt x="17140" y="586581"/>
                  <a:pt x="37419" y="564258"/>
                  <a:pt x="59824" y="551140"/>
                </a:cubicBezTo>
                <a:lnTo>
                  <a:pt x="972494" y="19678"/>
                </a:lnTo>
                <a:cubicBezTo>
                  <a:pt x="994878" y="6560"/>
                  <a:pt x="1024221" y="0"/>
                  <a:pt x="1053564" y="0"/>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12" name="Freeform 11">
            <a:extLst>
              <a:ext uri="{FF2B5EF4-FFF2-40B4-BE49-F238E27FC236}">
                <a16:creationId xmlns:a16="http://schemas.microsoft.com/office/drawing/2014/main" id="{E58E31CD-D5F9-8946-BC30-8568D845C0AE}"/>
              </a:ext>
            </a:extLst>
          </p:cNvPr>
          <p:cNvSpPr/>
          <p:nvPr userDrawn="1"/>
        </p:nvSpPr>
        <p:spPr>
          <a:xfrm>
            <a:off x="6590276" y="6237570"/>
            <a:ext cx="2107231" cy="620431"/>
          </a:xfrm>
          <a:custGeom>
            <a:avLst/>
            <a:gdLst>
              <a:gd name="connsiteX0" fmla="*/ 1053563 w 2107231"/>
              <a:gd name="connsiteY0" fmla="*/ 0 h 620431"/>
              <a:gd name="connsiteX1" fmla="*/ 1134633 w 2107231"/>
              <a:gd name="connsiteY1" fmla="*/ 19678 h 620431"/>
              <a:gd name="connsiteX2" fmla="*/ 2047433 w 2107231"/>
              <a:gd name="connsiteY2" fmla="*/ 551140 h 620431"/>
              <a:gd name="connsiteX3" fmla="*/ 2104756 w 2107231"/>
              <a:gd name="connsiteY3" fmla="*/ 612063 h 620431"/>
              <a:gd name="connsiteX4" fmla="*/ 2107231 w 2107231"/>
              <a:gd name="connsiteY4" fmla="*/ 620431 h 620431"/>
              <a:gd name="connsiteX5" fmla="*/ 0 w 2107231"/>
              <a:gd name="connsiteY5" fmla="*/ 620431 h 620431"/>
              <a:gd name="connsiteX6" fmla="*/ 2463 w 2107231"/>
              <a:gd name="connsiteY6" fmla="*/ 612112 h 620431"/>
              <a:gd name="connsiteX7" fmla="*/ 59823 w 2107231"/>
              <a:gd name="connsiteY7" fmla="*/ 551140 h 620431"/>
              <a:gd name="connsiteX8" fmla="*/ 972493 w 2107231"/>
              <a:gd name="connsiteY8" fmla="*/ 19678 h 620431"/>
              <a:gd name="connsiteX9" fmla="*/ 1053563 w 2107231"/>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1" h="620431">
                <a:moveTo>
                  <a:pt x="1053563" y="0"/>
                </a:moveTo>
                <a:cubicBezTo>
                  <a:pt x="1082906" y="0"/>
                  <a:pt x="1112249" y="6560"/>
                  <a:pt x="1134633" y="19678"/>
                </a:cubicBezTo>
                <a:lnTo>
                  <a:pt x="2047433" y="551140"/>
                </a:lnTo>
                <a:cubicBezTo>
                  <a:pt x="2069817" y="564193"/>
                  <a:pt x="2090084" y="586516"/>
                  <a:pt x="2104756" y="612063"/>
                </a:cubicBezTo>
                <a:lnTo>
                  <a:pt x="2107231" y="620431"/>
                </a:lnTo>
                <a:lnTo>
                  <a:pt x="0" y="620431"/>
                </a:lnTo>
                <a:lnTo>
                  <a:pt x="2463" y="612112"/>
                </a:lnTo>
                <a:cubicBezTo>
                  <a:pt x="17140" y="586581"/>
                  <a:pt x="37418" y="564258"/>
                  <a:pt x="59823" y="551140"/>
                </a:cubicBezTo>
                <a:lnTo>
                  <a:pt x="972493" y="19678"/>
                </a:lnTo>
                <a:cubicBezTo>
                  <a:pt x="994877" y="6560"/>
                  <a:pt x="1024220" y="0"/>
                  <a:pt x="1053563" y="0"/>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13" name="Freeform 12">
            <a:extLst>
              <a:ext uri="{FF2B5EF4-FFF2-40B4-BE49-F238E27FC236}">
                <a16:creationId xmlns:a16="http://schemas.microsoft.com/office/drawing/2014/main" id="{27659609-6976-FF40-A628-774AF5304312}"/>
              </a:ext>
            </a:extLst>
          </p:cNvPr>
          <p:cNvSpPr/>
          <p:nvPr userDrawn="1"/>
        </p:nvSpPr>
        <p:spPr>
          <a:xfrm>
            <a:off x="11114609" y="2242237"/>
            <a:ext cx="1077391" cy="2448556"/>
          </a:xfrm>
          <a:custGeom>
            <a:avLst/>
            <a:gdLst>
              <a:gd name="connsiteX0" fmla="*/ 1074853 w 1077391"/>
              <a:gd name="connsiteY0" fmla="*/ 0 h 2448556"/>
              <a:gd name="connsiteX1" fmla="*/ 1077391 w 1077391"/>
              <a:gd name="connsiteY1" fmla="*/ 289 h 2448556"/>
              <a:gd name="connsiteX2" fmla="*/ 1077391 w 1077391"/>
              <a:gd name="connsiteY2" fmla="*/ 2448266 h 2448556"/>
              <a:gd name="connsiteX3" fmla="*/ 1074853 w 1077391"/>
              <a:gd name="connsiteY3" fmla="*/ 2448556 h 2448556"/>
              <a:gd name="connsiteX4" fmla="*/ 993783 w 1077391"/>
              <a:gd name="connsiteY4" fmla="*/ 2428878 h 2448556"/>
              <a:gd name="connsiteX5" fmla="*/ 81113 w 1077391"/>
              <a:gd name="connsiteY5" fmla="*/ 1897373 h 2448556"/>
              <a:gd name="connsiteX6" fmla="*/ 0 w 1077391"/>
              <a:gd name="connsiteY6" fmla="*/ 1756221 h 2448556"/>
              <a:gd name="connsiteX7" fmla="*/ 0 w 1077391"/>
              <a:gd name="connsiteY7" fmla="*/ 692335 h 2448556"/>
              <a:gd name="connsiteX8" fmla="*/ 81113 w 1077391"/>
              <a:gd name="connsiteY8" fmla="*/ 551139 h 2448556"/>
              <a:gd name="connsiteX9" fmla="*/ 993783 w 1077391"/>
              <a:gd name="connsiteY9" fmla="*/ 19677 h 2448556"/>
              <a:gd name="connsiteX10" fmla="*/ 1074853 w 1077391"/>
              <a:gd name="connsiteY10" fmla="*/ 0 h 244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391" h="2448556">
                <a:moveTo>
                  <a:pt x="1074853" y="0"/>
                </a:moveTo>
                <a:lnTo>
                  <a:pt x="1077391" y="289"/>
                </a:lnTo>
                <a:lnTo>
                  <a:pt x="1077391" y="2448266"/>
                </a:lnTo>
                <a:lnTo>
                  <a:pt x="1074853" y="2448556"/>
                </a:lnTo>
                <a:cubicBezTo>
                  <a:pt x="1045510" y="2448556"/>
                  <a:pt x="1016167" y="2441996"/>
                  <a:pt x="993783" y="2428878"/>
                </a:cubicBezTo>
                <a:lnTo>
                  <a:pt x="81113" y="1897373"/>
                </a:lnTo>
                <a:cubicBezTo>
                  <a:pt x="36302" y="1871311"/>
                  <a:pt x="0" y="1808125"/>
                  <a:pt x="0" y="1756221"/>
                </a:cubicBezTo>
                <a:lnTo>
                  <a:pt x="0" y="692335"/>
                </a:lnTo>
                <a:cubicBezTo>
                  <a:pt x="0" y="640430"/>
                  <a:pt x="36302" y="577375"/>
                  <a:pt x="81113" y="551139"/>
                </a:cubicBezTo>
                <a:lnTo>
                  <a:pt x="993783" y="19677"/>
                </a:lnTo>
                <a:cubicBezTo>
                  <a:pt x="1016167" y="6559"/>
                  <a:pt x="1045510" y="0"/>
                  <a:pt x="1074853" y="0"/>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14" name="Freeform 13">
            <a:extLst>
              <a:ext uri="{FF2B5EF4-FFF2-40B4-BE49-F238E27FC236}">
                <a16:creationId xmlns:a16="http://schemas.microsoft.com/office/drawing/2014/main" id="{64660417-0369-4E48-84D9-0730AE3800D1}"/>
              </a:ext>
            </a:extLst>
          </p:cNvPr>
          <p:cNvSpPr/>
          <p:nvPr userDrawn="1"/>
        </p:nvSpPr>
        <p:spPr>
          <a:xfrm>
            <a:off x="9981786"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0" cap="flat">
            <a:noFill/>
            <a:prstDash val="solid"/>
            <a:miter/>
          </a:ln>
        </p:spPr>
        <p:txBody>
          <a:bodyPr rtlCol="0" anchor="ctr"/>
          <a:lstStyle/>
          <a:p>
            <a:endParaRPr lang="en-US" dirty="0"/>
          </a:p>
        </p:txBody>
      </p:sp>
      <p:sp>
        <p:nvSpPr>
          <p:cNvPr id="15" name="Freeform 14">
            <a:extLst>
              <a:ext uri="{FF2B5EF4-FFF2-40B4-BE49-F238E27FC236}">
                <a16:creationId xmlns:a16="http://schemas.microsoft.com/office/drawing/2014/main" id="{F69287FE-79AC-CC42-AD19-6350323252B6}"/>
              </a:ext>
            </a:extLst>
          </p:cNvPr>
          <p:cNvSpPr/>
          <p:nvPr userDrawn="1"/>
        </p:nvSpPr>
        <p:spPr>
          <a:xfrm>
            <a:off x="5437054"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0" cap="flat">
            <a:noFill/>
            <a:prstDash val="solid"/>
            <a:miter/>
          </a:ln>
        </p:spPr>
        <p:txBody>
          <a:bodyPr rtlCol="0" anchor="ctr"/>
          <a:lstStyle/>
          <a:p>
            <a:endParaRPr lang="en-US" dirty="0"/>
          </a:p>
        </p:txBody>
      </p:sp>
      <p:sp>
        <p:nvSpPr>
          <p:cNvPr id="16" name="Freeform 15">
            <a:extLst>
              <a:ext uri="{FF2B5EF4-FFF2-40B4-BE49-F238E27FC236}">
                <a16:creationId xmlns:a16="http://schemas.microsoft.com/office/drawing/2014/main" id="{A455AE46-F9A2-D944-840C-540E91AC60C7}"/>
              </a:ext>
            </a:extLst>
          </p:cNvPr>
          <p:cNvSpPr/>
          <p:nvPr userDrawn="1"/>
        </p:nvSpPr>
        <p:spPr>
          <a:xfrm>
            <a:off x="7699533"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blipFill dpi="0" rotWithShape="1">
            <a:blip r:embed="rId3" cstate="screen">
              <a:extLst>
                <a:ext uri="{28A0092B-C50C-407E-A947-70E740481C1C}">
                  <a14:useLocalDpi xmlns:a14="http://schemas.microsoft.com/office/drawing/2010/main"/>
                </a:ext>
              </a:extLst>
            </a:blip>
            <a:srcRect/>
            <a:stretch>
              <a:fillRect/>
            </a:stretch>
          </a:blipFill>
          <a:ln w="0" cap="flat">
            <a:noFill/>
            <a:prstDash val="solid"/>
            <a:miter/>
          </a:ln>
        </p:spPr>
        <p:txBody>
          <a:bodyPr rtlCol="0" anchor="ctr"/>
          <a:lstStyle/>
          <a:p>
            <a:endParaRPr lang="en-US" dirty="0"/>
          </a:p>
        </p:txBody>
      </p:sp>
      <p:sp>
        <p:nvSpPr>
          <p:cNvPr id="17" name="Freeform 16">
            <a:extLst>
              <a:ext uri="{FF2B5EF4-FFF2-40B4-BE49-F238E27FC236}">
                <a16:creationId xmlns:a16="http://schemas.microsoft.com/office/drawing/2014/main" id="{663E2FB3-1B84-374F-A5FB-D389346C6701}"/>
              </a:ext>
            </a:extLst>
          </p:cNvPr>
          <p:cNvSpPr/>
          <p:nvPr userDrawn="1"/>
        </p:nvSpPr>
        <p:spPr>
          <a:xfrm>
            <a:off x="7699533"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blipFill dpi="0" rotWithShape="1">
            <a:blip r:embed="rId4" cstate="screen">
              <a:alphaModFix/>
              <a:extLst>
                <a:ext uri="{28A0092B-C50C-407E-A947-70E740481C1C}">
                  <a14:useLocalDpi xmlns:a14="http://schemas.microsoft.com/office/drawing/2010/main"/>
                </a:ext>
              </a:extLst>
            </a:blip>
            <a:srcRect/>
            <a:stretch>
              <a:fillRect/>
            </a:stretch>
          </a:blipFill>
          <a:ln w="0"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2E8A4695-F343-C543-B240-B3DB4C8DD3B1}"/>
              </a:ext>
            </a:extLst>
          </p:cNvPr>
          <p:cNvSpPr/>
          <p:nvPr userDrawn="1"/>
        </p:nvSpPr>
        <p:spPr>
          <a:xfrm>
            <a:off x="5437054"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blipFill dpi="0" rotWithShape="1">
            <a:blip r:embed="rId5" cstate="screen">
              <a:extLst>
                <a:ext uri="{28A0092B-C50C-407E-A947-70E740481C1C}">
                  <a14:useLocalDpi xmlns:a14="http://schemas.microsoft.com/office/drawing/2010/main"/>
                </a:ext>
              </a:extLst>
            </a:blip>
            <a:srcRect/>
            <a:stretch>
              <a:fillRect/>
            </a:stretch>
          </a:blipFill>
          <a:ln w="0" cap="flat">
            <a:noFill/>
            <a:prstDash val="solid"/>
            <a:miter/>
          </a:ln>
        </p:spPr>
        <p:txBody>
          <a:bodyPr rtlCol="0" anchor="ctr"/>
          <a:lstStyle/>
          <a:p>
            <a:endParaRPr lang="en-US" dirty="0"/>
          </a:p>
        </p:txBody>
      </p:sp>
      <p:sp>
        <p:nvSpPr>
          <p:cNvPr id="19" name="Freeform 18">
            <a:extLst>
              <a:ext uri="{FF2B5EF4-FFF2-40B4-BE49-F238E27FC236}">
                <a16:creationId xmlns:a16="http://schemas.microsoft.com/office/drawing/2014/main" id="{0BFD0E62-8AA5-DC4F-B3DD-CA4AB391CAB5}"/>
              </a:ext>
            </a:extLst>
          </p:cNvPr>
          <p:cNvSpPr/>
          <p:nvPr userDrawn="1"/>
        </p:nvSpPr>
        <p:spPr>
          <a:xfrm>
            <a:off x="6569060" y="2234733"/>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blipFill dpi="0" rotWithShape="1">
            <a:blip r:embed="rId6" cstate="screen">
              <a:extLst>
                <a:ext uri="{28A0092B-C50C-407E-A947-70E740481C1C}">
                  <a14:useLocalDpi xmlns:a14="http://schemas.microsoft.com/office/drawing/2010/main"/>
                </a:ext>
              </a:extLst>
            </a:blip>
            <a:srcRect/>
            <a:stretch>
              <a:fillRect/>
            </a:stretch>
          </a:blipFill>
          <a:ln w="0"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894AFEAA-F18F-F949-91CB-1F9BE7162647}"/>
              </a:ext>
            </a:extLst>
          </p:cNvPr>
          <p:cNvSpPr>
            <a:spLocks noGrp="1"/>
          </p:cNvSpPr>
          <p:nvPr>
            <p:ph type="ctrTitle" hasCustomPrompt="1"/>
          </p:nvPr>
        </p:nvSpPr>
        <p:spPr>
          <a:xfrm>
            <a:off x="431188" y="1621617"/>
            <a:ext cx="5989207" cy="2387600"/>
          </a:xfrm>
          <a:prstGeom prst="rect">
            <a:avLst/>
          </a:prstGeom>
        </p:spPr>
        <p:txBody>
          <a:bodyPr anchor="b">
            <a:normAutofit/>
          </a:bodyPr>
          <a:lstStyle>
            <a:lvl1pPr algn="l">
              <a:defRPr sz="4200" b="0" i="0">
                <a:solidFill>
                  <a:schemeClr val="tx1"/>
                </a:solidFill>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E5E90C0F-F45F-0446-8D8B-3A0D1B304E85}"/>
              </a:ext>
            </a:extLst>
          </p:cNvPr>
          <p:cNvSpPr>
            <a:spLocks noGrp="1"/>
          </p:cNvSpPr>
          <p:nvPr>
            <p:ph type="subTitle" idx="1"/>
          </p:nvPr>
        </p:nvSpPr>
        <p:spPr>
          <a:xfrm>
            <a:off x="431188" y="4101292"/>
            <a:ext cx="5989207" cy="677010"/>
          </a:xfrm>
          <a:prstGeom prst="rect">
            <a:avLst/>
          </a:prstGeom>
        </p:spPr>
        <p:txBody>
          <a:bodyPr>
            <a:normAutofit/>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22" name="Picture 21">
            <a:extLst>
              <a:ext uri="{FF2B5EF4-FFF2-40B4-BE49-F238E27FC236}">
                <a16:creationId xmlns:a16="http://schemas.microsoft.com/office/drawing/2014/main" id="{142502CD-81B4-5245-A358-423AA716A65C}"/>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443064" y="5052850"/>
            <a:ext cx="4319715" cy="488103"/>
          </a:xfrm>
          <a:prstGeom prst="rect">
            <a:avLst/>
          </a:prstGeom>
        </p:spPr>
      </p:pic>
      <p:sp>
        <p:nvSpPr>
          <p:cNvPr id="23" name="Freeform 22">
            <a:extLst>
              <a:ext uri="{FF2B5EF4-FFF2-40B4-BE49-F238E27FC236}">
                <a16:creationId xmlns:a16="http://schemas.microsoft.com/office/drawing/2014/main" id="{4B0BF86A-7DAB-EE47-AE0B-5789B37E0C5C}"/>
              </a:ext>
            </a:extLst>
          </p:cNvPr>
          <p:cNvSpPr/>
          <p:nvPr userDrawn="1"/>
        </p:nvSpPr>
        <p:spPr>
          <a:xfrm>
            <a:off x="8841402" y="223472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0" cap="flat">
            <a:noFill/>
            <a:prstDash val="solid"/>
            <a:miter/>
          </a:ln>
        </p:spPr>
        <p:txBody>
          <a:bodyPr rtlCol="0" anchor="ctr"/>
          <a:lstStyle/>
          <a:p>
            <a:endParaRPr lang="en-US" dirty="0"/>
          </a:p>
        </p:txBody>
      </p:sp>
    </p:spTree>
    <p:extLst>
      <p:ext uri="{BB962C8B-B14F-4D97-AF65-F5344CB8AC3E}">
        <p14:creationId xmlns:p14="http://schemas.microsoft.com/office/powerpoint/2010/main" val="19655291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Internal Title Slide Option 2">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1A518A73-3993-D040-9D30-E37C2852975E}"/>
              </a:ext>
            </a:extLst>
          </p:cNvPr>
          <p:cNvSpPr/>
          <p:nvPr userDrawn="1"/>
        </p:nvSpPr>
        <p:spPr>
          <a:xfrm>
            <a:off x="9981786"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1C9D6E4C-ADE4-0C4C-A481-7EB4F7BB53B0}"/>
              </a:ext>
            </a:extLst>
          </p:cNvPr>
          <p:cNvSpPr/>
          <p:nvPr userDrawn="1"/>
        </p:nvSpPr>
        <p:spPr>
          <a:xfrm>
            <a:off x="11114609" y="-17958"/>
            <a:ext cx="1077391" cy="703820"/>
          </a:xfrm>
          <a:custGeom>
            <a:avLst/>
            <a:gdLst>
              <a:gd name="connsiteX0" fmla="*/ 0 w 1077391"/>
              <a:gd name="connsiteY0" fmla="*/ 0 h 703820"/>
              <a:gd name="connsiteX1" fmla="*/ 1077391 w 1077391"/>
              <a:gd name="connsiteY1" fmla="*/ 0 h 703820"/>
              <a:gd name="connsiteX2" fmla="*/ 1077391 w 1077391"/>
              <a:gd name="connsiteY2" fmla="*/ 703531 h 703820"/>
              <a:gd name="connsiteX3" fmla="*/ 1074853 w 1077391"/>
              <a:gd name="connsiteY3" fmla="*/ 703820 h 703820"/>
              <a:gd name="connsiteX4" fmla="*/ 993783 w 1077391"/>
              <a:gd name="connsiteY4" fmla="*/ 684142 h 703820"/>
              <a:gd name="connsiteX5" fmla="*/ 81113 w 1077391"/>
              <a:gd name="connsiteY5" fmla="*/ 152636 h 703820"/>
              <a:gd name="connsiteX6" fmla="*/ 0 w 1077391"/>
              <a:gd name="connsiteY6" fmla="*/ 11485 h 70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391" h="703820">
                <a:moveTo>
                  <a:pt x="0" y="0"/>
                </a:moveTo>
                <a:lnTo>
                  <a:pt x="1077391" y="0"/>
                </a:lnTo>
                <a:lnTo>
                  <a:pt x="1077391" y="703531"/>
                </a:lnTo>
                <a:lnTo>
                  <a:pt x="1074853" y="703820"/>
                </a:lnTo>
                <a:cubicBezTo>
                  <a:pt x="1045510" y="703820"/>
                  <a:pt x="1016167" y="697261"/>
                  <a:pt x="993783" y="684142"/>
                </a:cubicBezTo>
                <a:lnTo>
                  <a:pt x="81113" y="152636"/>
                </a:lnTo>
                <a:cubicBezTo>
                  <a:pt x="36302" y="126575"/>
                  <a:pt x="0" y="63389"/>
                  <a:pt x="0" y="11485"/>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7" name="Freeform 6">
            <a:extLst>
              <a:ext uri="{FF2B5EF4-FFF2-40B4-BE49-F238E27FC236}">
                <a16:creationId xmlns:a16="http://schemas.microsoft.com/office/drawing/2014/main" id="{F10F3C5F-DCC1-294B-AF83-9C6F6456505B}"/>
              </a:ext>
            </a:extLst>
          </p:cNvPr>
          <p:cNvSpPr/>
          <p:nvPr userDrawn="1"/>
        </p:nvSpPr>
        <p:spPr>
          <a:xfrm>
            <a:off x="8828609"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1" y="126400"/>
                  <a:pt x="2068723" y="152636"/>
                </a:cubicBezTo>
                <a:lnTo>
                  <a:pt x="1155923" y="684142"/>
                </a:lnTo>
                <a:cubicBezTo>
                  <a:pt x="1111155" y="710379"/>
                  <a:pt x="1038550" y="710379"/>
                  <a:pt x="993783" y="684142"/>
                </a:cubicBezTo>
                <a:lnTo>
                  <a:pt x="81113" y="152636"/>
                </a:lnTo>
                <a:cubicBezTo>
                  <a:pt x="36302" y="126575"/>
                  <a:pt x="0" y="63389"/>
                  <a:pt x="0" y="11485"/>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8" name="Freeform 7">
            <a:extLst>
              <a:ext uri="{FF2B5EF4-FFF2-40B4-BE49-F238E27FC236}">
                <a16:creationId xmlns:a16="http://schemas.microsoft.com/office/drawing/2014/main" id="{390A3B4B-54EB-4642-AF36-0E740E8F756D}"/>
              </a:ext>
            </a:extLst>
          </p:cNvPr>
          <p:cNvSpPr/>
          <p:nvPr userDrawn="1"/>
        </p:nvSpPr>
        <p:spPr>
          <a:xfrm>
            <a:off x="6568986"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0" y="126400"/>
                  <a:pt x="2068723" y="152636"/>
                </a:cubicBezTo>
                <a:lnTo>
                  <a:pt x="1155923" y="684142"/>
                </a:lnTo>
                <a:cubicBezTo>
                  <a:pt x="1111156" y="710379"/>
                  <a:pt x="1038550" y="710379"/>
                  <a:pt x="993783" y="684142"/>
                </a:cubicBezTo>
                <a:lnTo>
                  <a:pt x="81113" y="152636"/>
                </a:lnTo>
                <a:cubicBezTo>
                  <a:pt x="36302" y="126575"/>
                  <a:pt x="0" y="63389"/>
                  <a:pt x="0" y="11485"/>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9" name="Freeform 8">
            <a:extLst>
              <a:ext uri="{FF2B5EF4-FFF2-40B4-BE49-F238E27FC236}">
                <a16:creationId xmlns:a16="http://schemas.microsoft.com/office/drawing/2014/main" id="{879AF698-51E1-E04B-873E-88DE28D62B6E}"/>
              </a:ext>
            </a:extLst>
          </p:cNvPr>
          <p:cNvSpPr/>
          <p:nvPr userDrawn="1"/>
        </p:nvSpPr>
        <p:spPr>
          <a:xfrm>
            <a:off x="11135898" y="6237570"/>
            <a:ext cx="1056102" cy="620431"/>
          </a:xfrm>
          <a:custGeom>
            <a:avLst/>
            <a:gdLst>
              <a:gd name="connsiteX0" fmla="*/ 1053564 w 1056102"/>
              <a:gd name="connsiteY0" fmla="*/ 0 h 620431"/>
              <a:gd name="connsiteX1" fmla="*/ 1056102 w 1056102"/>
              <a:gd name="connsiteY1" fmla="*/ 290 h 620431"/>
              <a:gd name="connsiteX2" fmla="*/ 1056102 w 1056102"/>
              <a:gd name="connsiteY2" fmla="*/ 620431 h 620431"/>
              <a:gd name="connsiteX3" fmla="*/ 0 w 1056102"/>
              <a:gd name="connsiteY3" fmla="*/ 620431 h 620431"/>
              <a:gd name="connsiteX4" fmla="*/ 2463 w 1056102"/>
              <a:gd name="connsiteY4" fmla="*/ 612112 h 620431"/>
              <a:gd name="connsiteX5" fmla="*/ 59824 w 1056102"/>
              <a:gd name="connsiteY5" fmla="*/ 551140 h 620431"/>
              <a:gd name="connsiteX6" fmla="*/ 972494 w 1056102"/>
              <a:gd name="connsiteY6" fmla="*/ 19678 h 620431"/>
              <a:gd name="connsiteX7" fmla="*/ 1053564 w 1056102"/>
              <a:gd name="connsiteY7"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102" h="620431">
                <a:moveTo>
                  <a:pt x="1053564" y="0"/>
                </a:moveTo>
                <a:lnTo>
                  <a:pt x="1056102" y="290"/>
                </a:lnTo>
                <a:lnTo>
                  <a:pt x="1056102" y="620431"/>
                </a:lnTo>
                <a:lnTo>
                  <a:pt x="0" y="620431"/>
                </a:lnTo>
                <a:lnTo>
                  <a:pt x="2463" y="612112"/>
                </a:lnTo>
                <a:cubicBezTo>
                  <a:pt x="17140" y="586581"/>
                  <a:pt x="37418" y="564258"/>
                  <a:pt x="59824" y="551140"/>
                </a:cubicBezTo>
                <a:lnTo>
                  <a:pt x="972494" y="19678"/>
                </a:lnTo>
                <a:cubicBezTo>
                  <a:pt x="994878" y="6560"/>
                  <a:pt x="1024221" y="0"/>
                  <a:pt x="1053564" y="0"/>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10" name="Freeform 9">
            <a:extLst>
              <a:ext uri="{FF2B5EF4-FFF2-40B4-BE49-F238E27FC236}">
                <a16:creationId xmlns:a16="http://schemas.microsoft.com/office/drawing/2014/main" id="{A076BA73-0C54-F44B-99FB-C84B2E1E42CF}"/>
              </a:ext>
            </a:extLst>
          </p:cNvPr>
          <p:cNvSpPr/>
          <p:nvPr userDrawn="1"/>
        </p:nvSpPr>
        <p:spPr>
          <a:xfrm>
            <a:off x="8849898" y="6237570"/>
            <a:ext cx="2107233" cy="620431"/>
          </a:xfrm>
          <a:custGeom>
            <a:avLst/>
            <a:gdLst>
              <a:gd name="connsiteX0" fmla="*/ 1053564 w 2107233"/>
              <a:gd name="connsiteY0" fmla="*/ 0 h 620431"/>
              <a:gd name="connsiteX1" fmla="*/ 1134634 w 2107233"/>
              <a:gd name="connsiteY1" fmla="*/ 19678 h 620431"/>
              <a:gd name="connsiteX2" fmla="*/ 2047434 w 2107233"/>
              <a:gd name="connsiteY2" fmla="*/ 551140 h 620431"/>
              <a:gd name="connsiteX3" fmla="*/ 2104757 w 2107233"/>
              <a:gd name="connsiteY3" fmla="*/ 612063 h 620431"/>
              <a:gd name="connsiteX4" fmla="*/ 2107233 w 2107233"/>
              <a:gd name="connsiteY4" fmla="*/ 620431 h 620431"/>
              <a:gd name="connsiteX5" fmla="*/ 0 w 2107233"/>
              <a:gd name="connsiteY5" fmla="*/ 620431 h 620431"/>
              <a:gd name="connsiteX6" fmla="*/ 2463 w 2107233"/>
              <a:gd name="connsiteY6" fmla="*/ 612112 h 620431"/>
              <a:gd name="connsiteX7" fmla="*/ 59824 w 2107233"/>
              <a:gd name="connsiteY7" fmla="*/ 551140 h 620431"/>
              <a:gd name="connsiteX8" fmla="*/ 972494 w 2107233"/>
              <a:gd name="connsiteY8" fmla="*/ 19678 h 620431"/>
              <a:gd name="connsiteX9" fmla="*/ 1053564 w 2107233"/>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3" h="620431">
                <a:moveTo>
                  <a:pt x="1053564" y="0"/>
                </a:moveTo>
                <a:cubicBezTo>
                  <a:pt x="1082907" y="0"/>
                  <a:pt x="1112250" y="6560"/>
                  <a:pt x="1134634" y="19678"/>
                </a:cubicBezTo>
                <a:lnTo>
                  <a:pt x="2047434" y="551140"/>
                </a:lnTo>
                <a:cubicBezTo>
                  <a:pt x="2069818" y="564193"/>
                  <a:pt x="2090085" y="586516"/>
                  <a:pt x="2104757" y="612063"/>
                </a:cubicBezTo>
                <a:lnTo>
                  <a:pt x="2107233" y="620431"/>
                </a:lnTo>
                <a:lnTo>
                  <a:pt x="0" y="620431"/>
                </a:lnTo>
                <a:lnTo>
                  <a:pt x="2463" y="612112"/>
                </a:lnTo>
                <a:cubicBezTo>
                  <a:pt x="17140" y="586581"/>
                  <a:pt x="37419" y="564258"/>
                  <a:pt x="59824" y="551140"/>
                </a:cubicBezTo>
                <a:lnTo>
                  <a:pt x="972494" y="19678"/>
                </a:lnTo>
                <a:cubicBezTo>
                  <a:pt x="994878" y="6560"/>
                  <a:pt x="1024221" y="0"/>
                  <a:pt x="1053564" y="0"/>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12" name="Freeform 11">
            <a:extLst>
              <a:ext uri="{FF2B5EF4-FFF2-40B4-BE49-F238E27FC236}">
                <a16:creationId xmlns:a16="http://schemas.microsoft.com/office/drawing/2014/main" id="{E58E31CD-D5F9-8946-BC30-8568D845C0AE}"/>
              </a:ext>
            </a:extLst>
          </p:cNvPr>
          <p:cNvSpPr/>
          <p:nvPr userDrawn="1"/>
        </p:nvSpPr>
        <p:spPr>
          <a:xfrm>
            <a:off x="6590276" y="6237570"/>
            <a:ext cx="2107231" cy="620431"/>
          </a:xfrm>
          <a:custGeom>
            <a:avLst/>
            <a:gdLst>
              <a:gd name="connsiteX0" fmla="*/ 1053563 w 2107231"/>
              <a:gd name="connsiteY0" fmla="*/ 0 h 620431"/>
              <a:gd name="connsiteX1" fmla="*/ 1134633 w 2107231"/>
              <a:gd name="connsiteY1" fmla="*/ 19678 h 620431"/>
              <a:gd name="connsiteX2" fmla="*/ 2047433 w 2107231"/>
              <a:gd name="connsiteY2" fmla="*/ 551140 h 620431"/>
              <a:gd name="connsiteX3" fmla="*/ 2104756 w 2107231"/>
              <a:gd name="connsiteY3" fmla="*/ 612063 h 620431"/>
              <a:gd name="connsiteX4" fmla="*/ 2107231 w 2107231"/>
              <a:gd name="connsiteY4" fmla="*/ 620431 h 620431"/>
              <a:gd name="connsiteX5" fmla="*/ 0 w 2107231"/>
              <a:gd name="connsiteY5" fmla="*/ 620431 h 620431"/>
              <a:gd name="connsiteX6" fmla="*/ 2463 w 2107231"/>
              <a:gd name="connsiteY6" fmla="*/ 612112 h 620431"/>
              <a:gd name="connsiteX7" fmla="*/ 59823 w 2107231"/>
              <a:gd name="connsiteY7" fmla="*/ 551140 h 620431"/>
              <a:gd name="connsiteX8" fmla="*/ 972493 w 2107231"/>
              <a:gd name="connsiteY8" fmla="*/ 19678 h 620431"/>
              <a:gd name="connsiteX9" fmla="*/ 1053563 w 2107231"/>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1" h="620431">
                <a:moveTo>
                  <a:pt x="1053563" y="0"/>
                </a:moveTo>
                <a:cubicBezTo>
                  <a:pt x="1082906" y="0"/>
                  <a:pt x="1112249" y="6560"/>
                  <a:pt x="1134633" y="19678"/>
                </a:cubicBezTo>
                <a:lnTo>
                  <a:pt x="2047433" y="551140"/>
                </a:lnTo>
                <a:cubicBezTo>
                  <a:pt x="2069817" y="564193"/>
                  <a:pt x="2090084" y="586516"/>
                  <a:pt x="2104756" y="612063"/>
                </a:cubicBezTo>
                <a:lnTo>
                  <a:pt x="2107231" y="620431"/>
                </a:lnTo>
                <a:lnTo>
                  <a:pt x="0" y="620431"/>
                </a:lnTo>
                <a:lnTo>
                  <a:pt x="2463" y="612112"/>
                </a:lnTo>
                <a:cubicBezTo>
                  <a:pt x="17140" y="586581"/>
                  <a:pt x="37418" y="564258"/>
                  <a:pt x="59823" y="551140"/>
                </a:cubicBezTo>
                <a:lnTo>
                  <a:pt x="972493" y="19678"/>
                </a:lnTo>
                <a:cubicBezTo>
                  <a:pt x="994877" y="6560"/>
                  <a:pt x="1024220" y="0"/>
                  <a:pt x="1053563" y="0"/>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13" name="Freeform 12">
            <a:extLst>
              <a:ext uri="{FF2B5EF4-FFF2-40B4-BE49-F238E27FC236}">
                <a16:creationId xmlns:a16="http://schemas.microsoft.com/office/drawing/2014/main" id="{27659609-6976-FF40-A628-774AF5304312}"/>
              </a:ext>
            </a:extLst>
          </p:cNvPr>
          <p:cNvSpPr/>
          <p:nvPr userDrawn="1"/>
        </p:nvSpPr>
        <p:spPr>
          <a:xfrm>
            <a:off x="11114609" y="2242237"/>
            <a:ext cx="1077391" cy="2448556"/>
          </a:xfrm>
          <a:custGeom>
            <a:avLst/>
            <a:gdLst>
              <a:gd name="connsiteX0" fmla="*/ 1074853 w 1077391"/>
              <a:gd name="connsiteY0" fmla="*/ 0 h 2448556"/>
              <a:gd name="connsiteX1" fmla="*/ 1077391 w 1077391"/>
              <a:gd name="connsiteY1" fmla="*/ 289 h 2448556"/>
              <a:gd name="connsiteX2" fmla="*/ 1077391 w 1077391"/>
              <a:gd name="connsiteY2" fmla="*/ 2448266 h 2448556"/>
              <a:gd name="connsiteX3" fmla="*/ 1074853 w 1077391"/>
              <a:gd name="connsiteY3" fmla="*/ 2448556 h 2448556"/>
              <a:gd name="connsiteX4" fmla="*/ 993783 w 1077391"/>
              <a:gd name="connsiteY4" fmla="*/ 2428878 h 2448556"/>
              <a:gd name="connsiteX5" fmla="*/ 81113 w 1077391"/>
              <a:gd name="connsiteY5" fmla="*/ 1897373 h 2448556"/>
              <a:gd name="connsiteX6" fmla="*/ 0 w 1077391"/>
              <a:gd name="connsiteY6" fmla="*/ 1756221 h 2448556"/>
              <a:gd name="connsiteX7" fmla="*/ 0 w 1077391"/>
              <a:gd name="connsiteY7" fmla="*/ 692335 h 2448556"/>
              <a:gd name="connsiteX8" fmla="*/ 81113 w 1077391"/>
              <a:gd name="connsiteY8" fmla="*/ 551139 h 2448556"/>
              <a:gd name="connsiteX9" fmla="*/ 993783 w 1077391"/>
              <a:gd name="connsiteY9" fmla="*/ 19677 h 2448556"/>
              <a:gd name="connsiteX10" fmla="*/ 1074853 w 1077391"/>
              <a:gd name="connsiteY10" fmla="*/ 0 h 244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391" h="2448556">
                <a:moveTo>
                  <a:pt x="1074853" y="0"/>
                </a:moveTo>
                <a:lnTo>
                  <a:pt x="1077391" y="289"/>
                </a:lnTo>
                <a:lnTo>
                  <a:pt x="1077391" y="2448266"/>
                </a:lnTo>
                <a:lnTo>
                  <a:pt x="1074853" y="2448556"/>
                </a:lnTo>
                <a:cubicBezTo>
                  <a:pt x="1045510" y="2448556"/>
                  <a:pt x="1016167" y="2441996"/>
                  <a:pt x="993783" y="2428878"/>
                </a:cubicBezTo>
                <a:lnTo>
                  <a:pt x="81113" y="1897373"/>
                </a:lnTo>
                <a:cubicBezTo>
                  <a:pt x="36302" y="1871311"/>
                  <a:pt x="0" y="1808125"/>
                  <a:pt x="0" y="1756221"/>
                </a:cubicBezTo>
                <a:lnTo>
                  <a:pt x="0" y="692335"/>
                </a:lnTo>
                <a:cubicBezTo>
                  <a:pt x="0" y="640430"/>
                  <a:pt x="36302" y="577375"/>
                  <a:pt x="81113" y="551139"/>
                </a:cubicBezTo>
                <a:lnTo>
                  <a:pt x="993783" y="19677"/>
                </a:lnTo>
                <a:cubicBezTo>
                  <a:pt x="1016167" y="6559"/>
                  <a:pt x="1045510" y="0"/>
                  <a:pt x="1074853" y="0"/>
                </a:cubicBezTo>
                <a:close/>
              </a:path>
            </a:pathLst>
          </a:custGeom>
          <a:solidFill>
            <a:schemeClr val="bg1">
              <a:lumMod val="85000"/>
            </a:schemeClr>
          </a:solidFill>
          <a:ln w="0" cap="flat">
            <a:noFill/>
            <a:prstDash val="solid"/>
            <a:miter/>
          </a:ln>
        </p:spPr>
        <p:txBody>
          <a:bodyPr wrap="square" rtlCol="0" anchor="ctr">
            <a:noAutofit/>
          </a:bodyPr>
          <a:lstStyle/>
          <a:p>
            <a:endParaRPr lang="en-US" dirty="0"/>
          </a:p>
        </p:txBody>
      </p:sp>
      <p:sp>
        <p:nvSpPr>
          <p:cNvPr id="14" name="Freeform 13">
            <a:extLst>
              <a:ext uri="{FF2B5EF4-FFF2-40B4-BE49-F238E27FC236}">
                <a16:creationId xmlns:a16="http://schemas.microsoft.com/office/drawing/2014/main" id="{64660417-0369-4E48-84D9-0730AE3800D1}"/>
              </a:ext>
            </a:extLst>
          </p:cNvPr>
          <p:cNvSpPr/>
          <p:nvPr userDrawn="1"/>
        </p:nvSpPr>
        <p:spPr>
          <a:xfrm>
            <a:off x="9981786"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0" cap="flat">
            <a:noFill/>
            <a:prstDash val="solid"/>
            <a:miter/>
          </a:ln>
        </p:spPr>
        <p:txBody>
          <a:bodyPr rtlCol="0" anchor="ctr"/>
          <a:lstStyle/>
          <a:p>
            <a:endParaRPr lang="en-US" dirty="0"/>
          </a:p>
        </p:txBody>
      </p:sp>
      <p:sp>
        <p:nvSpPr>
          <p:cNvPr id="16" name="Freeform 15">
            <a:extLst>
              <a:ext uri="{FF2B5EF4-FFF2-40B4-BE49-F238E27FC236}">
                <a16:creationId xmlns:a16="http://schemas.microsoft.com/office/drawing/2014/main" id="{A455AE46-F9A2-D944-840C-540E91AC60C7}"/>
              </a:ext>
            </a:extLst>
          </p:cNvPr>
          <p:cNvSpPr/>
          <p:nvPr userDrawn="1"/>
        </p:nvSpPr>
        <p:spPr>
          <a:xfrm>
            <a:off x="7699533"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0" cap="flat">
            <a:noFill/>
            <a:prstDash val="solid"/>
            <a:miter/>
          </a:ln>
        </p:spPr>
        <p:txBody>
          <a:bodyPr rtlCol="0" anchor="ctr"/>
          <a:lstStyle/>
          <a:p>
            <a:endParaRPr lang="en-US" dirty="0"/>
          </a:p>
        </p:txBody>
      </p:sp>
      <p:sp>
        <p:nvSpPr>
          <p:cNvPr id="17" name="Freeform 16">
            <a:extLst>
              <a:ext uri="{FF2B5EF4-FFF2-40B4-BE49-F238E27FC236}">
                <a16:creationId xmlns:a16="http://schemas.microsoft.com/office/drawing/2014/main" id="{663E2FB3-1B84-374F-A5FB-D389346C6701}"/>
              </a:ext>
            </a:extLst>
          </p:cNvPr>
          <p:cNvSpPr/>
          <p:nvPr userDrawn="1"/>
        </p:nvSpPr>
        <p:spPr>
          <a:xfrm>
            <a:off x="7699533"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0"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894AFEAA-F18F-F949-91CB-1F9BE7162647}"/>
              </a:ext>
            </a:extLst>
          </p:cNvPr>
          <p:cNvSpPr>
            <a:spLocks noGrp="1"/>
          </p:cNvSpPr>
          <p:nvPr>
            <p:ph type="ctrTitle" hasCustomPrompt="1"/>
          </p:nvPr>
        </p:nvSpPr>
        <p:spPr>
          <a:xfrm>
            <a:off x="425289" y="884903"/>
            <a:ext cx="7141784" cy="3124314"/>
          </a:xfrm>
          <a:prstGeom prst="rect">
            <a:avLst/>
          </a:prstGeom>
        </p:spPr>
        <p:txBody>
          <a:bodyPr anchor="b">
            <a:normAutofit/>
          </a:bodyPr>
          <a:lstStyle>
            <a:lvl1pPr algn="l">
              <a:defRPr sz="4200" b="0" i="0">
                <a:solidFill>
                  <a:schemeClr val="tx1"/>
                </a:solidFill>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E5E90C0F-F45F-0446-8D8B-3A0D1B304E85}"/>
              </a:ext>
            </a:extLst>
          </p:cNvPr>
          <p:cNvSpPr>
            <a:spLocks noGrp="1"/>
          </p:cNvSpPr>
          <p:nvPr>
            <p:ph type="subTitle" idx="1"/>
          </p:nvPr>
        </p:nvSpPr>
        <p:spPr>
          <a:xfrm>
            <a:off x="425289" y="4101292"/>
            <a:ext cx="7141784" cy="677010"/>
          </a:xfrm>
          <a:prstGeom prst="rect">
            <a:avLst/>
          </a:prstGeom>
        </p:spPr>
        <p:txBody>
          <a:bodyPr>
            <a:normAutofit/>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22" name="Picture 21">
            <a:extLst>
              <a:ext uri="{FF2B5EF4-FFF2-40B4-BE49-F238E27FC236}">
                <a16:creationId xmlns:a16="http://schemas.microsoft.com/office/drawing/2014/main" id="{142502CD-81B4-5245-A358-423AA716A6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7165" y="5052850"/>
            <a:ext cx="4319715" cy="488103"/>
          </a:xfrm>
          <a:prstGeom prst="rect">
            <a:avLst/>
          </a:prstGeom>
        </p:spPr>
      </p:pic>
      <p:sp>
        <p:nvSpPr>
          <p:cNvPr id="23" name="Freeform 22">
            <a:extLst>
              <a:ext uri="{FF2B5EF4-FFF2-40B4-BE49-F238E27FC236}">
                <a16:creationId xmlns:a16="http://schemas.microsoft.com/office/drawing/2014/main" id="{4B0BF86A-7DAB-EE47-AE0B-5789B37E0C5C}"/>
              </a:ext>
            </a:extLst>
          </p:cNvPr>
          <p:cNvSpPr/>
          <p:nvPr userDrawn="1"/>
        </p:nvSpPr>
        <p:spPr>
          <a:xfrm>
            <a:off x="8841402" y="223472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0" cap="flat">
            <a:noFill/>
            <a:prstDash val="solid"/>
            <a:miter/>
          </a:ln>
        </p:spPr>
        <p:txBody>
          <a:bodyPr rtlCol="0" anchor="ctr"/>
          <a:lstStyle/>
          <a:p>
            <a:endParaRPr lang="en-US" dirty="0"/>
          </a:p>
        </p:txBody>
      </p:sp>
    </p:spTree>
    <p:extLst>
      <p:ext uri="{BB962C8B-B14F-4D97-AF65-F5344CB8AC3E}">
        <p14:creationId xmlns:p14="http://schemas.microsoft.com/office/powerpoint/2010/main" val="19071702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nternal Title Slide Option 2A">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1A518A73-3993-D040-9D30-E37C2852975E}"/>
              </a:ext>
            </a:extLst>
          </p:cNvPr>
          <p:cNvSpPr/>
          <p:nvPr userDrawn="1"/>
        </p:nvSpPr>
        <p:spPr>
          <a:xfrm>
            <a:off x="9981786"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solidFill>
          <a:ln w="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1C9D6E4C-ADE4-0C4C-A481-7EB4F7BB53B0}"/>
              </a:ext>
            </a:extLst>
          </p:cNvPr>
          <p:cNvSpPr/>
          <p:nvPr userDrawn="1"/>
        </p:nvSpPr>
        <p:spPr>
          <a:xfrm>
            <a:off x="11114609" y="-17958"/>
            <a:ext cx="1077391" cy="703820"/>
          </a:xfrm>
          <a:custGeom>
            <a:avLst/>
            <a:gdLst>
              <a:gd name="connsiteX0" fmla="*/ 0 w 1077391"/>
              <a:gd name="connsiteY0" fmla="*/ 0 h 703820"/>
              <a:gd name="connsiteX1" fmla="*/ 1077391 w 1077391"/>
              <a:gd name="connsiteY1" fmla="*/ 0 h 703820"/>
              <a:gd name="connsiteX2" fmla="*/ 1077391 w 1077391"/>
              <a:gd name="connsiteY2" fmla="*/ 703531 h 703820"/>
              <a:gd name="connsiteX3" fmla="*/ 1074853 w 1077391"/>
              <a:gd name="connsiteY3" fmla="*/ 703820 h 703820"/>
              <a:gd name="connsiteX4" fmla="*/ 993783 w 1077391"/>
              <a:gd name="connsiteY4" fmla="*/ 684142 h 703820"/>
              <a:gd name="connsiteX5" fmla="*/ 81113 w 1077391"/>
              <a:gd name="connsiteY5" fmla="*/ 152636 h 703820"/>
              <a:gd name="connsiteX6" fmla="*/ 0 w 1077391"/>
              <a:gd name="connsiteY6" fmla="*/ 11485 h 70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391" h="703820">
                <a:moveTo>
                  <a:pt x="0" y="0"/>
                </a:moveTo>
                <a:lnTo>
                  <a:pt x="1077391" y="0"/>
                </a:lnTo>
                <a:lnTo>
                  <a:pt x="1077391" y="703531"/>
                </a:lnTo>
                <a:lnTo>
                  <a:pt x="1074853" y="703820"/>
                </a:lnTo>
                <a:cubicBezTo>
                  <a:pt x="1045510" y="703820"/>
                  <a:pt x="1016167" y="697261"/>
                  <a:pt x="993783" y="684142"/>
                </a:cubicBezTo>
                <a:lnTo>
                  <a:pt x="81113" y="152636"/>
                </a:lnTo>
                <a:cubicBezTo>
                  <a:pt x="36302" y="126575"/>
                  <a:pt x="0" y="63389"/>
                  <a:pt x="0" y="11485"/>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7" name="Freeform 6">
            <a:extLst>
              <a:ext uri="{FF2B5EF4-FFF2-40B4-BE49-F238E27FC236}">
                <a16:creationId xmlns:a16="http://schemas.microsoft.com/office/drawing/2014/main" id="{F10F3C5F-DCC1-294B-AF83-9C6F6456505B}"/>
              </a:ext>
            </a:extLst>
          </p:cNvPr>
          <p:cNvSpPr/>
          <p:nvPr userDrawn="1"/>
        </p:nvSpPr>
        <p:spPr>
          <a:xfrm>
            <a:off x="8828609"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1" y="126400"/>
                  <a:pt x="2068723" y="152636"/>
                </a:cubicBezTo>
                <a:lnTo>
                  <a:pt x="1155923" y="684142"/>
                </a:lnTo>
                <a:cubicBezTo>
                  <a:pt x="1111155" y="710379"/>
                  <a:pt x="1038550" y="710379"/>
                  <a:pt x="993783" y="684142"/>
                </a:cubicBezTo>
                <a:lnTo>
                  <a:pt x="81113" y="152636"/>
                </a:lnTo>
                <a:cubicBezTo>
                  <a:pt x="36302" y="126575"/>
                  <a:pt x="0" y="63389"/>
                  <a:pt x="0" y="11485"/>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8" name="Freeform 7">
            <a:extLst>
              <a:ext uri="{FF2B5EF4-FFF2-40B4-BE49-F238E27FC236}">
                <a16:creationId xmlns:a16="http://schemas.microsoft.com/office/drawing/2014/main" id="{390A3B4B-54EB-4642-AF36-0E740E8F756D}"/>
              </a:ext>
            </a:extLst>
          </p:cNvPr>
          <p:cNvSpPr/>
          <p:nvPr userDrawn="1"/>
        </p:nvSpPr>
        <p:spPr>
          <a:xfrm>
            <a:off x="6568986"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0" y="126400"/>
                  <a:pt x="2068723" y="152636"/>
                </a:cubicBezTo>
                <a:lnTo>
                  <a:pt x="1155923" y="684142"/>
                </a:lnTo>
                <a:cubicBezTo>
                  <a:pt x="1111156" y="710379"/>
                  <a:pt x="1038550" y="710379"/>
                  <a:pt x="993783" y="684142"/>
                </a:cubicBezTo>
                <a:lnTo>
                  <a:pt x="81113" y="152636"/>
                </a:lnTo>
                <a:cubicBezTo>
                  <a:pt x="36302" y="126575"/>
                  <a:pt x="0" y="63389"/>
                  <a:pt x="0" y="11485"/>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9" name="Freeform 8">
            <a:extLst>
              <a:ext uri="{FF2B5EF4-FFF2-40B4-BE49-F238E27FC236}">
                <a16:creationId xmlns:a16="http://schemas.microsoft.com/office/drawing/2014/main" id="{879AF698-51E1-E04B-873E-88DE28D62B6E}"/>
              </a:ext>
            </a:extLst>
          </p:cNvPr>
          <p:cNvSpPr/>
          <p:nvPr userDrawn="1"/>
        </p:nvSpPr>
        <p:spPr>
          <a:xfrm>
            <a:off x="11135898" y="6237570"/>
            <a:ext cx="1056102" cy="620431"/>
          </a:xfrm>
          <a:custGeom>
            <a:avLst/>
            <a:gdLst>
              <a:gd name="connsiteX0" fmla="*/ 1053564 w 1056102"/>
              <a:gd name="connsiteY0" fmla="*/ 0 h 620431"/>
              <a:gd name="connsiteX1" fmla="*/ 1056102 w 1056102"/>
              <a:gd name="connsiteY1" fmla="*/ 290 h 620431"/>
              <a:gd name="connsiteX2" fmla="*/ 1056102 w 1056102"/>
              <a:gd name="connsiteY2" fmla="*/ 620431 h 620431"/>
              <a:gd name="connsiteX3" fmla="*/ 0 w 1056102"/>
              <a:gd name="connsiteY3" fmla="*/ 620431 h 620431"/>
              <a:gd name="connsiteX4" fmla="*/ 2463 w 1056102"/>
              <a:gd name="connsiteY4" fmla="*/ 612112 h 620431"/>
              <a:gd name="connsiteX5" fmla="*/ 59824 w 1056102"/>
              <a:gd name="connsiteY5" fmla="*/ 551140 h 620431"/>
              <a:gd name="connsiteX6" fmla="*/ 972494 w 1056102"/>
              <a:gd name="connsiteY6" fmla="*/ 19678 h 620431"/>
              <a:gd name="connsiteX7" fmla="*/ 1053564 w 1056102"/>
              <a:gd name="connsiteY7"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102" h="620431">
                <a:moveTo>
                  <a:pt x="1053564" y="0"/>
                </a:moveTo>
                <a:lnTo>
                  <a:pt x="1056102" y="290"/>
                </a:lnTo>
                <a:lnTo>
                  <a:pt x="1056102" y="620431"/>
                </a:lnTo>
                <a:lnTo>
                  <a:pt x="0" y="620431"/>
                </a:lnTo>
                <a:lnTo>
                  <a:pt x="2463" y="612112"/>
                </a:lnTo>
                <a:cubicBezTo>
                  <a:pt x="17140" y="586581"/>
                  <a:pt x="37418" y="564258"/>
                  <a:pt x="59824" y="551140"/>
                </a:cubicBezTo>
                <a:lnTo>
                  <a:pt x="972494" y="19678"/>
                </a:lnTo>
                <a:cubicBezTo>
                  <a:pt x="994878" y="6560"/>
                  <a:pt x="1024221" y="0"/>
                  <a:pt x="1053564" y="0"/>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10" name="Freeform 9">
            <a:extLst>
              <a:ext uri="{FF2B5EF4-FFF2-40B4-BE49-F238E27FC236}">
                <a16:creationId xmlns:a16="http://schemas.microsoft.com/office/drawing/2014/main" id="{A076BA73-0C54-F44B-99FB-C84B2E1E42CF}"/>
              </a:ext>
            </a:extLst>
          </p:cNvPr>
          <p:cNvSpPr/>
          <p:nvPr userDrawn="1"/>
        </p:nvSpPr>
        <p:spPr>
          <a:xfrm>
            <a:off x="8849898" y="6237570"/>
            <a:ext cx="2107233" cy="620431"/>
          </a:xfrm>
          <a:custGeom>
            <a:avLst/>
            <a:gdLst>
              <a:gd name="connsiteX0" fmla="*/ 1053564 w 2107233"/>
              <a:gd name="connsiteY0" fmla="*/ 0 h 620431"/>
              <a:gd name="connsiteX1" fmla="*/ 1134634 w 2107233"/>
              <a:gd name="connsiteY1" fmla="*/ 19678 h 620431"/>
              <a:gd name="connsiteX2" fmla="*/ 2047434 w 2107233"/>
              <a:gd name="connsiteY2" fmla="*/ 551140 h 620431"/>
              <a:gd name="connsiteX3" fmla="*/ 2104757 w 2107233"/>
              <a:gd name="connsiteY3" fmla="*/ 612063 h 620431"/>
              <a:gd name="connsiteX4" fmla="*/ 2107233 w 2107233"/>
              <a:gd name="connsiteY4" fmla="*/ 620431 h 620431"/>
              <a:gd name="connsiteX5" fmla="*/ 0 w 2107233"/>
              <a:gd name="connsiteY5" fmla="*/ 620431 h 620431"/>
              <a:gd name="connsiteX6" fmla="*/ 2463 w 2107233"/>
              <a:gd name="connsiteY6" fmla="*/ 612112 h 620431"/>
              <a:gd name="connsiteX7" fmla="*/ 59824 w 2107233"/>
              <a:gd name="connsiteY7" fmla="*/ 551140 h 620431"/>
              <a:gd name="connsiteX8" fmla="*/ 972494 w 2107233"/>
              <a:gd name="connsiteY8" fmla="*/ 19678 h 620431"/>
              <a:gd name="connsiteX9" fmla="*/ 1053564 w 2107233"/>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3" h="620431">
                <a:moveTo>
                  <a:pt x="1053564" y="0"/>
                </a:moveTo>
                <a:cubicBezTo>
                  <a:pt x="1082907" y="0"/>
                  <a:pt x="1112250" y="6560"/>
                  <a:pt x="1134634" y="19678"/>
                </a:cubicBezTo>
                <a:lnTo>
                  <a:pt x="2047434" y="551140"/>
                </a:lnTo>
                <a:cubicBezTo>
                  <a:pt x="2069818" y="564193"/>
                  <a:pt x="2090085" y="586516"/>
                  <a:pt x="2104757" y="612063"/>
                </a:cubicBezTo>
                <a:lnTo>
                  <a:pt x="2107233" y="620431"/>
                </a:lnTo>
                <a:lnTo>
                  <a:pt x="0" y="620431"/>
                </a:lnTo>
                <a:lnTo>
                  <a:pt x="2463" y="612112"/>
                </a:lnTo>
                <a:cubicBezTo>
                  <a:pt x="17140" y="586581"/>
                  <a:pt x="37419" y="564258"/>
                  <a:pt x="59824" y="551140"/>
                </a:cubicBezTo>
                <a:lnTo>
                  <a:pt x="972494" y="19678"/>
                </a:lnTo>
                <a:cubicBezTo>
                  <a:pt x="994878" y="6560"/>
                  <a:pt x="1024221" y="0"/>
                  <a:pt x="1053564" y="0"/>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12" name="Freeform 11">
            <a:extLst>
              <a:ext uri="{FF2B5EF4-FFF2-40B4-BE49-F238E27FC236}">
                <a16:creationId xmlns:a16="http://schemas.microsoft.com/office/drawing/2014/main" id="{E58E31CD-D5F9-8946-BC30-8568D845C0AE}"/>
              </a:ext>
            </a:extLst>
          </p:cNvPr>
          <p:cNvSpPr/>
          <p:nvPr userDrawn="1"/>
        </p:nvSpPr>
        <p:spPr>
          <a:xfrm>
            <a:off x="6590276" y="6237570"/>
            <a:ext cx="2107231" cy="620431"/>
          </a:xfrm>
          <a:custGeom>
            <a:avLst/>
            <a:gdLst>
              <a:gd name="connsiteX0" fmla="*/ 1053563 w 2107231"/>
              <a:gd name="connsiteY0" fmla="*/ 0 h 620431"/>
              <a:gd name="connsiteX1" fmla="*/ 1134633 w 2107231"/>
              <a:gd name="connsiteY1" fmla="*/ 19678 h 620431"/>
              <a:gd name="connsiteX2" fmla="*/ 2047433 w 2107231"/>
              <a:gd name="connsiteY2" fmla="*/ 551140 h 620431"/>
              <a:gd name="connsiteX3" fmla="*/ 2104756 w 2107231"/>
              <a:gd name="connsiteY3" fmla="*/ 612063 h 620431"/>
              <a:gd name="connsiteX4" fmla="*/ 2107231 w 2107231"/>
              <a:gd name="connsiteY4" fmla="*/ 620431 h 620431"/>
              <a:gd name="connsiteX5" fmla="*/ 0 w 2107231"/>
              <a:gd name="connsiteY5" fmla="*/ 620431 h 620431"/>
              <a:gd name="connsiteX6" fmla="*/ 2463 w 2107231"/>
              <a:gd name="connsiteY6" fmla="*/ 612112 h 620431"/>
              <a:gd name="connsiteX7" fmla="*/ 59823 w 2107231"/>
              <a:gd name="connsiteY7" fmla="*/ 551140 h 620431"/>
              <a:gd name="connsiteX8" fmla="*/ 972493 w 2107231"/>
              <a:gd name="connsiteY8" fmla="*/ 19678 h 620431"/>
              <a:gd name="connsiteX9" fmla="*/ 1053563 w 2107231"/>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1" h="620431">
                <a:moveTo>
                  <a:pt x="1053563" y="0"/>
                </a:moveTo>
                <a:cubicBezTo>
                  <a:pt x="1082906" y="0"/>
                  <a:pt x="1112249" y="6560"/>
                  <a:pt x="1134633" y="19678"/>
                </a:cubicBezTo>
                <a:lnTo>
                  <a:pt x="2047433" y="551140"/>
                </a:lnTo>
                <a:cubicBezTo>
                  <a:pt x="2069817" y="564193"/>
                  <a:pt x="2090084" y="586516"/>
                  <a:pt x="2104756" y="612063"/>
                </a:cubicBezTo>
                <a:lnTo>
                  <a:pt x="2107231" y="620431"/>
                </a:lnTo>
                <a:lnTo>
                  <a:pt x="0" y="620431"/>
                </a:lnTo>
                <a:lnTo>
                  <a:pt x="2463" y="612112"/>
                </a:lnTo>
                <a:cubicBezTo>
                  <a:pt x="17140" y="586581"/>
                  <a:pt x="37418" y="564258"/>
                  <a:pt x="59823" y="551140"/>
                </a:cubicBezTo>
                <a:lnTo>
                  <a:pt x="972493" y="19678"/>
                </a:lnTo>
                <a:cubicBezTo>
                  <a:pt x="994877" y="6560"/>
                  <a:pt x="1024220" y="0"/>
                  <a:pt x="1053563" y="0"/>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13" name="Freeform 12">
            <a:extLst>
              <a:ext uri="{FF2B5EF4-FFF2-40B4-BE49-F238E27FC236}">
                <a16:creationId xmlns:a16="http://schemas.microsoft.com/office/drawing/2014/main" id="{27659609-6976-FF40-A628-774AF5304312}"/>
              </a:ext>
            </a:extLst>
          </p:cNvPr>
          <p:cNvSpPr/>
          <p:nvPr userDrawn="1"/>
        </p:nvSpPr>
        <p:spPr>
          <a:xfrm>
            <a:off x="11114609" y="2242237"/>
            <a:ext cx="1077391" cy="2448556"/>
          </a:xfrm>
          <a:custGeom>
            <a:avLst/>
            <a:gdLst>
              <a:gd name="connsiteX0" fmla="*/ 1074853 w 1077391"/>
              <a:gd name="connsiteY0" fmla="*/ 0 h 2448556"/>
              <a:gd name="connsiteX1" fmla="*/ 1077391 w 1077391"/>
              <a:gd name="connsiteY1" fmla="*/ 289 h 2448556"/>
              <a:gd name="connsiteX2" fmla="*/ 1077391 w 1077391"/>
              <a:gd name="connsiteY2" fmla="*/ 2448266 h 2448556"/>
              <a:gd name="connsiteX3" fmla="*/ 1074853 w 1077391"/>
              <a:gd name="connsiteY3" fmla="*/ 2448556 h 2448556"/>
              <a:gd name="connsiteX4" fmla="*/ 993783 w 1077391"/>
              <a:gd name="connsiteY4" fmla="*/ 2428878 h 2448556"/>
              <a:gd name="connsiteX5" fmla="*/ 81113 w 1077391"/>
              <a:gd name="connsiteY5" fmla="*/ 1897373 h 2448556"/>
              <a:gd name="connsiteX6" fmla="*/ 0 w 1077391"/>
              <a:gd name="connsiteY6" fmla="*/ 1756221 h 2448556"/>
              <a:gd name="connsiteX7" fmla="*/ 0 w 1077391"/>
              <a:gd name="connsiteY7" fmla="*/ 692335 h 2448556"/>
              <a:gd name="connsiteX8" fmla="*/ 81113 w 1077391"/>
              <a:gd name="connsiteY8" fmla="*/ 551139 h 2448556"/>
              <a:gd name="connsiteX9" fmla="*/ 993783 w 1077391"/>
              <a:gd name="connsiteY9" fmla="*/ 19677 h 2448556"/>
              <a:gd name="connsiteX10" fmla="*/ 1074853 w 1077391"/>
              <a:gd name="connsiteY10" fmla="*/ 0 h 244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391" h="2448556">
                <a:moveTo>
                  <a:pt x="1074853" y="0"/>
                </a:moveTo>
                <a:lnTo>
                  <a:pt x="1077391" y="289"/>
                </a:lnTo>
                <a:lnTo>
                  <a:pt x="1077391" y="2448266"/>
                </a:lnTo>
                <a:lnTo>
                  <a:pt x="1074853" y="2448556"/>
                </a:lnTo>
                <a:cubicBezTo>
                  <a:pt x="1045510" y="2448556"/>
                  <a:pt x="1016167" y="2441996"/>
                  <a:pt x="993783" y="2428878"/>
                </a:cubicBezTo>
                <a:lnTo>
                  <a:pt x="81113" y="1897373"/>
                </a:lnTo>
                <a:cubicBezTo>
                  <a:pt x="36302" y="1871311"/>
                  <a:pt x="0" y="1808125"/>
                  <a:pt x="0" y="1756221"/>
                </a:cubicBezTo>
                <a:lnTo>
                  <a:pt x="0" y="692335"/>
                </a:lnTo>
                <a:cubicBezTo>
                  <a:pt x="0" y="640430"/>
                  <a:pt x="36302" y="577375"/>
                  <a:pt x="81113" y="551139"/>
                </a:cubicBezTo>
                <a:lnTo>
                  <a:pt x="993783" y="19677"/>
                </a:lnTo>
                <a:cubicBezTo>
                  <a:pt x="1016167" y="6559"/>
                  <a:pt x="1045510" y="0"/>
                  <a:pt x="1074853" y="0"/>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14" name="Freeform 13">
            <a:extLst>
              <a:ext uri="{FF2B5EF4-FFF2-40B4-BE49-F238E27FC236}">
                <a16:creationId xmlns:a16="http://schemas.microsoft.com/office/drawing/2014/main" id="{64660417-0369-4E48-84D9-0730AE3800D1}"/>
              </a:ext>
            </a:extLst>
          </p:cNvPr>
          <p:cNvSpPr/>
          <p:nvPr userDrawn="1"/>
        </p:nvSpPr>
        <p:spPr>
          <a:xfrm>
            <a:off x="9981786"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solidFill>
          <a:ln w="0" cap="flat">
            <a:noFill/>
            <a:prstDash val="solid"/>
            <a:miter/>
          </a:ln>
        </p:spPr>
        <p:txBody>
          <a:bodyPr rtlCol="0" anchor="ctr"/>
          <a:lstStyle/>
          <a:p>
            <a:endParaRPr lang="en-US" dirty="0"/>
          </a:p>
        </p:txBody>
      </p:sp>
      <p:sp>
        <p:nvSpPr>
          <p:cNvPr id="16" name="Freeform 15">
            <a:extLst>
              <a:ext uri="{FF2B5EF4-FFF2-40B4-BE49-F238E27FC236}">
                <a16:creationId xmlns:a16="http://schemas.microsoft.com/office/drawing/2014/main" id="{A455AE46-F9A2-D944-840C-540E91AC60C7}"/>
              </a:ext>
            </a:extLst>
          </p:cNvPr>
          <p:cNvSpPr/>
          <p:nvPr userDrawn="1"/>
        </p:nvSpPr>
        <p:spPr>
          <a:xfrm>
            <a:off x="7699533"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solidFill>
          <a:ln w="0" cap="flat">
            <a:noFill/>
            <a:prstDash val="solid"/>
            <a:miter/>
          </a:ln>
        </p:spPr>
        <p:txBody>
          <a:bodyPr rtlCol="0" anchor="ctr"/>
          <a:lstStyle/>
          <a:p>
            <a:endParaRPr lang="en-US" dirty="0"/>
          </a:p>
        </p:txBody>
      </p:sp>
      <p:sp>
        <p:nvSpPr>
          <p:cNvPr id="17" name="Freeform 16">
            <a:extLst>
              <a:ext uri="{FF2B5EF4-FFF2-40B4-BE49-F238E27FC236}">
                <a16:creationId xmlns:a16="http://schemas.microsoft.com/office/drawing/2014/main" id="{663E2FB3-1B84-374F-A5FB-D389346C6701}"/>
              </a:ext>
            </a:extLst>
          </p:cNvPr>
          <p:cNvSpPr/>
          <p:nvPr userDrawn="1"/>
        </p:nvSpPr>
        <p:spPr>
          <a:xfrm>
            <a:off x="7699533"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solidFill>
          <a:ln w="0"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894AFEAA-F18F-F949-91CB-1F9BE7162647}"/>
              </a:ext>
            </a:extLst>
          </p:cNvPr>
          <p:cNvSpPr>
            <a:spLocks noGrp="1"/>
          </p:cNvSpPr>
          <p:nvPr>
            <p:ph type="ctrTitle" hasCustomPrompt="1"/>
          </p:nvPr>
        </p:nvSpPr>
        <p:spPr>
          <a:xfrm>
            <a:off x="425289" y="1621617"/>
            <a:ext cx="7150830" cy="2387600"/>
          </a:xfrm>
          <a:prstGeom prst="rect">
            <a:avLst/>
          </a:prstGeom>
        </p:spPr>
        <p:txBody>
          <a:bodyPr anchor="b">
            <a:normAutofit/>
          </a:bodyPr>
          <a:lstStyle>
            <a:lvl1pPr algn="l">
              <a:defRPr sz="4200" b="0" i="0">
                <a:solidFill>
                  <a:schemeClr val="tx1"/>
                </a:solidFill>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E5E90C0F-F45F-0446-8D8B-3A0D1B304E85}"/>
              </a:ext>
            </a:extLst>
          </p:cNvPr>
          <p:cNvSpPr>
            <a:spLocks noGrp="1"/>
          </p:cNvSpPr>
          <p:nvPr>
            <p:ph type="subTitle" idx="1"/>
          </p:nvPr>
        </p:nvSpPr>
        <p:spPr>
          <a:xfrm>
            <a:off x="425289" y="4101292"/>
            <a:ext cx="7150830" cy="677010"/>
          </a:xfrm>
          <a:prstGeom prst="rect">
            <a:avLst/>
          </a:prstGeo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22" name="Picture 21">
            <a:extLst>
              <a:ext uri="{FF2B5EF4-FFF2-40B4-BE49-F238E27FC236}">
                <a16:creationId xmlns:a16="http://schemas.microsoft.com/office/drawing/2014/main" id="{142502CD-81B4-5245-A358-423AA716A6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7165" y="5052850"/>
            <a:ext cx="4319715" cy="488103"/>
          </a:xfrm>
          <a:prstGeom prst="rect">
            <a:avLst/>
          </a:prstGeom>
        </p:spPr>
      </p:pic>
      <p:sp>
        <p:nvSpPr>
          <p:cNvPr id="23" name="Freeform 22">
            <a:extLst>
              <a:ext uri="{FF2B5EF4-FFF2-40B4-BE49-F238E27FC236}">
                <a16:creationId xmlns:a16="http://schemas.microsoft.com/office/drawing/2014/main" id="{4B0BF86A-7DAB-EE47-AE0B-5789B37E0C5C}"/>
              </a:ext>
            </a:extLst>
          </p:cNvPr>
          <p:cNvSpPr/>
          <p:nvPr userDrawn="1"/>
        </p:nvSpPr>
        <p:spPr>
          <a:xfrm>
            <a:off x="8841402" y="223472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solidFill>
          <a:ln w="0" cap="flat">
            <a:noFill/>
            <a:prstDash val="solid"/>
            <a:miter/>
          </a:ln>
        </p:spPr>
        <p:txBody>
          <a:bodyPr rtlCol="0" anchor="ctr"/>
          <a:lstStyle/>
          <a:p>
            <a:endParaRPr lang="en-US" dirty="0"/>
          </a:p>
        </p:txBody>
      </p:sp>
    </p:spTree>
    <p:extLst>
      <p:ext uri="{BB962C8B-B14F-4D97-AF65-F5344CB8AC3E}">
        <p14:creationId xmlns:p14="http://schemas.microsoft.com/office/powerpoint/2010/main" val="1375414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Title Slide Option 1">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B7F33F41-5B38-5C40-A6A4-2A9CD3C27375}"/>
              </a:ext>
            </a:extLst>
          </p:cNvPr>
          <p:cNvSpPr/>
          <p:nvPr userDrawn="1"/>
        </p:nvSpPr>
        <p:spPr>
          <a:xfrm>
            <a:off x="9839136" y="4069121"/>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180975"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384E2262-8C3A-B941-834E-33D7830CD338}"/>
              </a:ext>
            </a:extLst>
          </p:cNvPr>
          <p:cNvSpPr/>
          <p:nvPr userDrawn="1"/>
        </p:nvSpPr>
        <p:spPr>
          <a:xfrm>
            <a:off x="10987918" y="2063112"/>
            <a:ext cx="1204083" cy="2770053"/>
          </a:xfrm>
          <a:custGeom>
            <a:avLst/>
            <a:gdLst>
              <a:gd name="connsiteX0" fmla="*/ 1204083 w 1204083"/>
              <a:gd name="connsiteY0" fmla="*/ 0 h 2770053"/>
              <a:gd name="connsiteX1" fmla="*/ 1204083 w 1204083"/>
              <a:gd name="connsiteY1" fmla="*/ 2770053 h 2770053"/>
              <a:gd name="connsiteX2" fmla="*/ 1165535 w 1204083"/>
              <a:gd name="connsiteY2" fmla="*/ 2765648 h 2770053"/>
              <a:gd name="connsiteX3" fmla="*/ 1122690 w 1204083"/>
              <a:gd name="connsiteY3" fmla="*/ 2748938 h 2770053"/>
              <a:gd name="connsiteX4" fmla="*/ 91635 w 1204083"/>
              <a:gd name="connsiteY4" fmla="*/ 2147139 h 2770053"/>
              <a:gd name="connsiteX5" fmla="*/ 0 w 1204083"/>
              <a:gd name="connsiteY5" fmla="*/ 1987320 h 2770053"/>
              <a:gd name="connsiteX6" fmla="*/ 0 w 1204083"/>
              <a:gd name="connsiteY6" fmla="*/ 782733 h 2770053"/>
              <a:gd name="connsiteX7" fmla="*/ 91635 w 1204083"/>
              <a:gd name="connsiteY7" fmla="*/ 622864 h 2770053"/>
              <a:gd name="connsiteX8" fmla="*/ 1122690 w 1204083"/>
              <a:gd name="connsiteY8" fmla="*/ 21115 h 2770053"/>
              <a:gd name="connsiteX9" fmla="*/ 1165535 w 1204083"/>
              <a:gd name="connsiteY9" fmla="*/ 4406 h 277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4083" h="2770053">
                <a:moveTo>
                  <a:pt x="1204083" y="0"/>
                </a:moveTo>
                <a:lnTo>
                  <a:pt x="1204083" y="2770053"/>
                </a:lnTo>
                <a:lnTo>
                  <a:pt x="1165535" y="2765648"/>
                </a:lnTo>
                <a:cubicBezTo>
                  <a:pt x="1149943" y="2761935"/>
                  <a:pt x="1135334" y="2756365"/>
                  <a:pt x="1122690" y="2748938"/>
                </a:cubicBezTo>
                <a:lnTo>
                  <a:pt x="91635" y="2147139"/>
                </a:lnTo>
                <a:cubicBezTo>
                  <a:pt x="41011" y="2117632"/>
                  <a:pt x="0" y="2046089"/>
                  <a:pt x="0" y="1987320"/>
                </a:cubicBezTo>
                <a:lnTo>
                  <a:pt x="0" y="782733"/>
                </a:lnTo>
                <a:cubicBezTo>
                  <a:pt x="0" y="723964"/>
                  <a:pt x="41011" y="652570"/>
                  <a:pt x="91635" y="622864"/>
                </a:cubicBezTo>
                <a:lnTo>
                  <a:pt x="1122690" y="21115"/>
                </a:lnTo>
                <a:cubicBezTo>
                  <a:pt x="1135334" y="13689"/>
                  <a:pt x="1149943" y="8119"/>
                  <a:pt x="1165535" y="4406"/>
                </a:cubicBezTo>
                <a:close/>
              </a:path>
            </a:pathLst>
          </a:custGeom>
          <a:solidFill>
            <a:schemeClr val="bg1">
              <a:lumMod val="85000"/>
            </a:schemeClr>
          </a:solidFill>
          <a:ln w="180975" cap="flat">
            <a:noFill/>
            <a:prstDash val="solid"/>
            <a:miter/>
          </a:ln>
        </p:spPr>
        <p:txBody>
          <a:bodyPr wrap="square" rtlCol="0" anchor="ctr">
            <a:noAutofit/>
          </a:bodyPr>
          <a:lstStyle/>
          <a:p>
            <a:endParaRPr lang="en-US" dirty="0"/>
          </a:p>
        </p:txBody>
      </p:sp>
      <p:sp>
        <p:nvSpPr>
          <p:cNvPr id="13" name="Freeform 12">
            <a:extLst>
              <a:ext uri="{FF2B5EF4-FFF2-40B4-BE49-F238E27FC236}">
                <a16:creationId xmlns:a16="http://schemas.microsoft.com/office/drawing/2014/main" id="{27659609-6976-FF40-A628-774AF5304312}"/>
              </a:ext>
            </a:extLst>
          </p:cNvPr>
          <p:cNvSpPr/>
          <p:nvPr userDrawn="1"/>
        </p:nvSpPr>
        <p:spPr>
          <a:xfrm>
            <a:off x="11114609" y="2242237"/>
            <a:ext cx="1077391" cy="2448556"/>
          </a:xfrm>
          <a:custGeom>
            <a:avLst/>
            <a:gdLst>
              <a:gd name="connsiteX0" fmla="*/ 1074853 w 1077391"/>
              <a:gd name="connsiteY0" fmla="*/ 0 h 2448556"/>
              <a:gd name="connsiteX1" fmla="*/ 1077391 w 1077391"/>
              <a:gd name="connsiteY1" fmla="*/ 289 h 2448556"/>
              <a:gd name="connsiteX2" fmla="*/ 1077391 w 1077391"/>
              <a:gd name="connsiteY2" fmla="*/ 2448266 h 2448556"/>
              <a:gd name="connsiteX3" fmla="*/ 1074853 w 1077391"/>
              <a:gd name="connsiteY3" fmla="*/ 2448556 h 2448556"/>
              <a:gd name="connsiteX4" fmla="*/ 993783 w 1077391"/>
              <a:gd name="connsiteY4" fmla="*/ 2428878 h 2448556"/>
              <a:gd name="connsiteX5" fmla="*/ 81113 w 1077391"/>
              <a:gd name="connsiteY5" fmla="*/ 1897373 h 2448556"/>
              <a:gd name="connsiteX6" fmla="*/ 0 w 1077391"/>
              <a:gd name="connsiteY6" fmla="*/ 1756221 h 2448556"/>
              <a:gd name="connsiteX7" fmla="*/ 0 w 1077391"/>
              <a:gd name="connsiteY7" fmla="*/ 692335 h 2448556"/>
              <a:gd name="connsiteX8" fmla="*/ 81113 w 1077391"/>
              <a:gd name="connsiteY8" fmla="*/ 551139 h 2448556"/>
              <a:gd name="connsiteX9" fmla="*/ 993783 w 1077391"/>
              <a:gd name="connsiteY9" fmla="*/ 19677 h 2448556"/>
              <a:gd name="connsiteX10" fmla="*/ 1074853 w 1077391"/>
              <a:gd name="connsiteY10" fmla="*/ 0 h 244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391" h="2448556">
                <a:moveTo>
                  <a:pt x="1074853" y="0"/>
                </a:moveTo>
                <a:lnTo>
                  <a:pt x="1077391" y="289"/>
                </a:lnTo>
                <a:lnTo>
                  <a:pt x="1077391" y="2448266"/>
                </a:lnTo>
                <a:lnTo>
                  <a:pt x="1074853" y="2448556"/>
                </a:lnTo>
                <a:cubicBezTo>
                  <a:pt x="1045510" y="2448556"/>
                  <a:pt x="1016167" y="2441996"/>
                  <a:pt x="993783" y="2428878"/>
                </a:cubicBezTo>
                <a:lnTo>
                  <a:pt x="81113" y="1897373"/>
                </a:lnTo>
                <a:cubicBezTo>
                  <a:pt x="36302" y="1871311"/>
                  <a:pt x="0" y="1808125"/>
                  <a:pt x="0" y="1756221"/>
                </a:cubicBezTo>
                <a:lnTo>
                  <a:pt x="0" y="692335"/>
                </a:lnTo>
                <a:cubicBezTo>
                  <a:pt x="0" y="640430"/>
                  <a:pt x="36302" y="577375"/>
                  <a:pt x="81113" y="551139"/>
                </a:cubicBezTo>
                <a:lnTo>
                  <a:pt x="993783" y="19677"/>
                </a:lnTo>
                <a:cubicBezTo>
                  <a:pt x="1016167" y="6559"/>
                  <a:pt x="1045510" y="0"/>
                  <a:pt x="1074853" y="0"/>
                </a:cubicBezTo>
                <a:close/>
              </a:path>
            </a:pathLst>
          </a:custGeom>
          <a:solidFill>
            <a:schemeClr val="bg1">
              <a:lumMod val="75000"/>
            </a:schemeClr>
          </a:solidFill>
          <a:ln w="0" cap="flat">
            <a:noFill/>
            <a:prstDash val="solid"/>
            <a:miter/>
          </a:ln>
        </p:spPr>
        <p:txBody>
          <a:bodyPr wrap="square" rtlCol="0" anchor="ctr">
            <a:noAutofit/>
          </a:bodyPr>
          <a:lstStyle/>
          <a:p>
            <a:endParaRPr lang="en-US" dirty="0"/>
          </a:p>
        </p:txBody>
      </p:sp>
      <p:sp>
        <p:nvSpPr>
          <p:cNvPr id="29" name="Freeform 28">
            <a:extLst>
              <a:ext uri="{FF2B5EF4-FFF2-40B4-BE49-F238E27FC236}">
                <a16:creationId xmlns:a16="http://schemas.microsoft.com/office/drawing/2014/main" id="{D4E136AD-9775-7F44-8AF1-E4437F9FBD3D}"/>
              </a:ext>
            </a:extLst>
          </p:cNvPr>
          <p:cNvSpPr/>
          <p:nvPr userDrawn="1"/>
        </p:nvSpPr>
        <p:spPr>
          <a:xfrm>
            <a:off x="10987917" y="6073638"/>
            <a:ext cx="1204082" cy="790092"/>
          </a:xfrm>
          <a:custGeom>
            <a:avLst/>
            <a:gdLst>
              <a:gd name="connsiteX0" fmla="*/ 1204082 w 1204082"/>
              <a:gd name="connsiteY0" fmla="*/ 0 h 790092"/>
              <a:gd name="connsiteX1" fmla="*/ 1204082 w 1204082"/>
              <a:gd name="connsiteY1" fmla="*/ 790092 h 790092"/>
              <a:gd name="connsiteX2" fmla="*/ 0 w 1204082"/>
              <a:gd name="connsiteY2" fmla="*/ 790092 h 790092"/>
              <a:gd name="connsiteX3" fmla="*/ 0 w 1204082"/>
              <a:gd name="connsiteY3" fmla="*/ 782733 h 790092"/>
              <a:gd name="connsiteX4" fmla="*/ 91635 w 1204082"/>
              <a:gd name="connsiteY4" fmla="*/ 622864 h 790092"/>
              <a:gd name="connsiteX5" fmla="*/ 1122690 w 1204082"/>
              <a:gd name="connsiteY5" fmla="*/ 21115 h 790092"/>
              <a:gd name="connsiteX6" fmla="*/ 1165535 w 1204082"/>
              <a:gd name="connsiteY6" fmla="*/ 4405 h 79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4082" h="790092">
                <a:moveTo>
                  <a:pt x="1204082" y="0"/>
                </a:moveTo>
                <a:lnTo>
                  <a:pt x="1204082" y="790092"/>
                </a:lnTo>
                <a:lnTo>
                  <a:pt x="0" y="790092"/>
                </a:lnTo>
                <a:lnTo>
                  <a:pt x="0" y="782733"/>
                </a:lnTo>
                <a:cubicBezTo>
                  <a:pt x="0" y="723964"/>
                  <a:pt x="41011" y="652570"/>
                  <a:pt x="91635" y="622864"/>
                </a:cubicBezTo>
                <a:lnTo>
                  <a:pt x="1122690" y="21115"/>
                </a:lnTo>
                <a:cubicBezTo>
                  <a:pt x="1135334" y="13689"/>
                  <a:pt x="1149943" y="8119"/>
                  <a:pt x="1165535" y="4405"/>
                </a:cubicBezTo>
                <a:close/>
              </a:path>
            </a:pathLst>
          </a:custGeom>
          <a:solidFill>
            <a:schemeClr val="bg1">
              <a:lumMod val="85000"/>
            </a:schemeClr>
          </a:solidFill>
          <a:ln w="180975" cap="flat">
            <a:noFill/>
            <a:prstDash val="solid"/>
            <a:miter/>
          </a:ln>
        </p:spPr>
        <p:txBody>
          <a:bodyPr wrap="square" rtlCol="0" anchor="ctr">
            <a:noAutofit/>
          </a:bodyPr>
          <a:lstStyle/>
          <a:p>
            <a:endParaRPr lang="en-US" dirty="0"/>
          </a:p>
        </p:txBody>
      </p:sp>
      <p:sp>
        <p:nvSpPr>
          <p:cNvPr id="30" name="Freeform 29">
            <a:extLst>
              <a:ext uri="{FF2B5EF4-FFF2-40B4-BE49-F238E27FC236}">
                <a16:creationId xmlns:a16="http://schemas.microsoft.com/office/drawing/2014/main" id="{95A3EF39-B6AB-ED46-9B2E-9CA343C6CD90}"/>
              </a:ext>
            </a:extLst>
          </p:cNvPr>
          <p:cNvSpPr/>
          <p:nvPr userDrawn="1"/>
        </p:nvSpPr>
        <p:spPr>
          <a:xfrm>
            <a:off x="8701917" y="6072473"/>
            <a:ext cx="2428651" cy="794673"/>
          </a:xfrm>
          <a:custGeom>
            <a:avLst/>
            <a:gdLst>
              <a:gd name="connsiteX0" fmla="*/ 1214276 w 2428651"/>
              <a:gd name="connsiteY0" fmla="*/ 0 h 794673"/>
              <a:gd name="connsiteX1" fmla="*/ 1305862 w 2428651"/>
              <a:gd name="connsiteY1" fmla="*/ 22280 h 794673"/>
              <a:gd name="connsiteX2" fmla="*/ 2337065 w 2428651"/>
              <a:gd name="connsiteY2" fmla="*/ 624029 h 794673"/>
              <a:gd name="connsiteX3" fmla="*/ 2428651 w 2428651"/>
              <a:gd name="connsiteY3" fmla="*/ 783898 h 794673"/>
              <a:gd name="connsiteX4" fmla="*/ 2428651 w 2428651"/>
              <a:gd name="connsiteY4" fmla="*/ 794673 h 794673"/>
              <a:gd name="connsiteX5" fmla="*/ 0 w 2428651"/>
              <a:gd name="connsiteY5" fmla="*/ 794673 h 794673"/>
              <a:gd name="connsiteX6" fmla="*/ 0 w 2428651"/>
              <a:gd name="connsiteY6" fmla="*/ 783898 h 794673"/>
              <a:gd name="connsiteX7" fmla="*/ 91635 w 2428651"/>
              <a:gd name="connsiteY7" fmla="*/ 624029 h 794673"/>
              <a:gd name="connsiteX8" fmla="*/ 1122690 w 2428651"/>
              <a:gd name="connsiteY8" fmla="*/ 22280 h 794673"/>
              <a:gd name="connsiteX9" fmla="*/ 1214276 w 2428651"/>
              <a:gd name="connsiteY9" fmla="*/ 0 h 79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8651" h="794673">
                <a:moveTo>
                  <a:pt x="1214276" y="0"/>
                </a:moveTo>
                <a:cubicBezTo>
                  <a:pt x="1247426" y="0"/>
                  <a:pt x="1280575" y="7427"/>
                  <a:pt x="1305862" y="22280"/>
                </a:cubicBezTo>
                <a:lnTo>
                  <a:pt x="2337065" y="624029"/>
                </a:lnTo>
                <a:cubicBezTo>
                  <a:pt x="2387639" y="653587"/>
                  <a:pt x="2428651" y="725129"/>
                  <a:pt x="2428651" y="783898"/>
                </a:cubicBezTo>
                <a:lnTo>
                  <a:pt x="2428651" y="794673"/>
                </a:lnTo>
                <a:lnTo>
                  <a:pt x="0" y="794673"/>
                </a:lnTo>
                <a:lnTo>
                  <a:pt x="0" y="783898"/>
                </a:lnTo>
                <a:cubicBezTo>
                  <a:pt x="0" y="725129"/>
                  <a:pt x="41011" y="653735"/>
                  <a:pt x="91635" y="624029"/>
                </a:cubicBezTo>
                <a:lnTo>
                  <a:pt x="1122690" y="22280"/>
                </a:lnTo>
                <a:cubicBezTo>
                  <a:pt x="1147977" y="7427"/>
                  <a:pt x="1181127" y="0"/>
                  <a:pt x="1214276" y="0"/>
                </a:cubicBezTo>
                <a:close/>
              </a:path>
            </a:pathLst>
          </a:custGeom>
          <a:solidFill>
            <a:schemeClr val="bg1">
              <a:lumMod val="85000"/>
            </a:schemeClr>
          </a:solidFill>
          <a:ln w="180975" cap="flat">
            <a:noFill/>
            <a:prstDash val="solid"/>
            <a:miter/>
          </a:ln>
        </p:spPr>
        <p:txBody>
          <a:bodyPr wrap="square" rtlCol="0" anchor="ctr">
            <a:noAutofit/>
          </a:bodyPr>
          <a:lstStyle/>
          <a:p>
            <a:endParaRPr lang="en-US" dirty="0"/>
          </a:p>
        </p:txBody>
      </p:sp>
      <p:sp>
        <p:nvSpPr>
          <p:cNvPr id="9" name="Freeform 8">
            <a:extLst>
              <a:ext uri="{FF2B5EF4-FFF2-40B4-BE49-F238E27FC236}">
                <a16:creationId xmlns:a16="http://schemas.microsoft.com/office/drawing/2014/main" id="{879AF698-51E1-E04B-873E-88DE28D62B6E}"/>
              </a:ext>
            </a:extLst>
          </p:cNvPr>
          <p:cNvSpPr/>
          <p:nvPr userDrawn="1"/>
        </p:nvSpPr>
        <p:spPr>
          <a:xfrm>
            <a:off x="11135898" y="6237570"/>
            <a:ext cx="1056102" cy="620431"/>
          </a:xfrm>
          <a:custGeom>
            <a:avLst/>
            <a:gdLst>
              <a:gd name="connsiteX0" fmla="*/ 1053564 w 1056102"/>
              <a:gd name="connsiteY0" fmla="*/ 0 h 620431"/>
              <a:gd name="connsiteX1" fmla="*/ 1056102 w 1056102"/>
              <a:gd name="connsiteY1" fmla="*/ 290 h 620431"/>
              <a:gd name="connsiteX2" fmla="*/ 1056102 w 1056102"/>
              <a:gd name="connsiteY2" fmla="*/ 620431 h 620431"/>
              <a:gd name="connsiteX3" fmla="*/ 0 w 1056102"/>
              <a:gd name="connsiteY3" fmla="*/ 620431 h 620431"/>
              <a:gd name="connsiteX4" fmla="*/ 2463 w 1056102"/>
              <a:gd name="connsiteY4" fmla="*/ 612112 h 620431"/>
              <a:gd name="connsiteX5" fmla="*/ 59824 w 1056102"/>
              <a:gd name="connsiteY5" fmla="*/ 551140 h 620431"/>
              <a:gd name="connsiteX6" fmla="*/ 972494 w 1056102"/>
              <a:gd name="connsiteY6" fmla="*/ 19678 h 620431"/>
              <a:gd name="connsiteX7" fmla="*/ 1053564 w 1056102"/>
              <a:gd name="connsiteY7"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102" h="620431">
                <a:moveTo>
                  <a:pt x="1053564" y="0"/>
                </a:moveTo>
                <a:lnTo>
                  <a:pt x="1056102" y="290"/>
                </a:lnTo>
                <a:lnTo>
                  <a:pt x="1056102" y="620431"/>
                </a:lnTo>
                <a:lnTo>
                  <a:pt x="0" y="620431"/>
                </a:lnTo>
                <a:lnTo>
                  <a:pt x="2463" y="612112"/>
                </a:lnTo>
                <a:cubicBezTo>
                  <a:pt x="17140" y="586581"/>
                  <a:pt x="37418" y="564258"/>
                  <a:pt x="59824" y="551140"/>
                </a:cubicBezTo>
                <a:lnTo>
                  <a:pt x="972494" y="19678"/>
                </a:lnTo>
                <a:cubicBezTo>
                  <a:pt x="994878" y="6560"/>
                  <a:pt x="1024221" y="0"/>
                  <a:pt x="1053564" y="0"/>
                </a:cubicBezTo>
                <a:close/>
              </a:path>
            </a:pathLst>
          </a:custGeom>
          <a:solidFill>
            <a:schemeClr val="bg1">
              <a:lumMod val="75000"/>
            </a:schemeClr>
          </a:solidFill>
          <a:ln w="0" cap="flat">
            <a:noFill/>
            <a:prstDash val="solid"/>
            <a:miter/>
          </a:ln>
        </p:spPr>
        <p:txBody>
          <a:bodyPr wrap="square" rtlCol="0" anchor="ctr">
            <a:noAutofit/>
          </a:bodyPr>
          <a:lstStyle/>
          <a:p>
            <a:endParaRPr lang="en-US" dirty="0"/>
          </a:p>
        </p:txBody>
      </p:sp>
      <p:sp>
        <p:nvSpPr>
          <p:cNvPr id="10" name="Freeform 9">
            <a:extLst>
              <a:ext uri="{FF2B5EF4-FFF2-40B4-BE49-F238E27FC236}">
                <a16:creationId xmlns:a16="http://schemas.microsoft.com/office/drawing/2014/main" id="{A076BA73-0C54-F44B-99FB-C84B2E1E42CF}"/>
              </a:ext>
            </a:extLst>
          </p:cNvPr>
          <p:cNvSpPr/>
          <p:nvPr userDrawn="1"/>
        </p:nvSpPr>
        <p:spPr>
          <a:xfrm>
            <a:off x="8849898" y="6237570"/>
            <a:ext cx="2107233" cy="620431"/>
          </a:xfrm>
          <a:custGeom>
            <a:avLst/>
            <a:gdLst>
              <a:gd name="connsiteX0" fmla="*/ 1053564 w 2107233"/>
              <a:gd name="connsiteY0" fmla="*/ 0 h 620431"/>
              <a:gd name="connsiteX1" fmla="*/ 1134634 w 2107233"/>
              <a:gd name="connsiteY1" fmla="*/ 19678 h 620431"/>
              <a:gd name="connsiteX2" fmla="*/ 2047434 w 2107233"/>
              <a:gd name="connsiteY2" fmla="*/ 551140 h 620431"/>
              <a:gd name="connsiteX3" fmla="*/ 2104757 w 2107233"/>
              <a:gd name="connsiteY3" fmla="*/ 612063 h 620431"/>
              <a:gd name="connsiteX4" fmla="*/ 2107233 w 2107233"/>
              <a:gd name="connsiteY4" fmla="*/ 620431 h 620431"/>
              <a:gd name="connsiteX5" fmla="*/ 0 w 2107233"/>
              <a:gd name="connsiteY5" fmla="*/ 620431 h 620431"/>
              <a:gd name="connsiteX6" fmla="*/ 2463 w 2107233"/>
              <a:gd name="connsiteY6" fmla="*/ 612112 h 620431"/>
              <a:gd name="connsiteX7" fmla="*/ 59824 w 2107233"/>
              <a:gd name="connsiteY7" fmla="*/ 551140 h 620431"/>
              <a:gd name="connsiteX8" fmla="*/ 972494 w 2107233"/>
              <a:gd name="connsiteY8" fmla="*/ 19678 h 620431"/>
              <a:gd name="connsiteX9" fmla="*/ 1053564 w 2107233"/>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3" h="620431">
                <a:moveTo>
                  <a:pt x="1053564" y="0"/>
                </a:moveTo>
                <a:cubicBezTo>
                  <a:pt x="1082907" y="0"/>
                  <a:pt x="1112250" y="6560"/>
                  <a:pt x="1134634" y="19678"/>
                </a:cubicBezTo>
                <a:lnTo>
                  <a:pt x="2047434" y="551140"/>
                </a:lnTo>
                <a:cubicBezTo>
                  <a:pt x="2069818" y="564193"/>
                  <a:pt x="2090085" y="586516"/>
                  <a:pt x="2104757" y="612063"/>
                </a:cubicBezTo>
                <a:lnTo>
                  <a:pt x="2107233" y="620431"/>
                </a:lnTo>
                <a:lnTo>
                  <a:pt x="0" y="620431"/>
                </a:lnTo>
                <a:lnTo>
                  <a:pt x="2463" y="612112"/>
                </a:lnTo>
                <a:cubicBezTo>
                  <a:pt x="17140" y="586581"/>
                  <a:pt x="37419" y="564258"/>
                  <a:pt x="59824" y="551140"/>
                </a:cubicBezTo>
                <a:lnTo>
                  <a:pt x="972494" y="19678"/>
                </a:lnTo>
                <a:cubicBezTo>
                  <a:pt x="994878" y="6560"/>
                  <a:pt x="1024221" y="0"/>
                  <a:pt x="1053564" y="0"/>
                </a:cubicBezTo>
                <a:close/>
              </a:path>
            </a:pathLst>
          </a:custGeom>
          <a:solidFill>
            <a:schemeClr val="bg1">
              <a:lumMod val="75000"/>
            </a:schemeClr>
          </a:solidFill>
          <a:ln w="0" cap="flat">
            <a:noFill/>
            <a:prstDash val="solid"/>
            <a:miter/>
          </a:ln>
        </p:spPr>
        <p:txBody>
          <a:bodyPr wrap="square" rtlCol="0" anchor="ctr">
            <a:noAutofit/>
          </a:bodyPr>
          <a:lstStyle/>
          <a:p>
            <a:endParaRPr lang="en-US" dirty="0"/>
          </a:p>
        </p:txBody>
      </p:sp>
      <p:sp>
        <p:nvSpPr>
          <p:cNvPr id="25" name="Freeform 24">
            <a:extLst>
              <a:ext uri="{FF2B5EF4-FFF2-40B4-BE49-F238E27FC236}">
                <a16:creationId xmlns:a16="http://schemas.microsoft.com/office/drawing/2014/main" id="{D42EFB8F-705D-584B-85EA-D6FF4D970EA7}"/>
              </a:ext>
            </a:extLst>
          </p:cNvPr>
          <p:cNvSpPr/>
          <p:nvPr userDrawn="1"/>
        </p:nvSpPr>
        <p:spPr>
          <a:xfrm>
            <a:off x="6440497" y="6072473"/>
            <a:ext cx="2428651" cy="794673"/>
          </a:xfrm>
          <a:custGeom>
            <a:avLst/>
            <a:gdLst>
              <a:gd name="connsiteX0" fmla="*/ 1214276 w 2428651"/>
              <a:gd name="connsiteY0" fmla="*/ 0 h 794673"/>
              <a:gd name="connsiteX1" fmla="*/ 1305862 w 2428651"/>
              <a:gd name="connsiteY1" fmla="*/ 22280 h 794673"/>
              <a:gd name="connsiteX2" fmla="*/ 2337065 w 2428651"/>
              <a:gd name="connsiteY2" fmla="*/ 624029 h 794673"/>
              <a:gd name="connsiteX3" fmla="*/ 2428651 w 2428651"/>
              <a:gd name="connsiteY3" fmla="*/ 783898 h 794673"/>
              <a:gd name="connsiteX4" fmla="*/ 2428651 w 2428651"/>
              <a:gd name="connsiteY4" fmla="*/ 794673 h 794673"/>
              <a:gd name="connsiteX5" fmla="*/ 0 w 2428651"/>
              <a:gd name="connsiteY5" fmla="*/ 794673 h 794673"/>
              <a:gd name="connsiteX6" fmla="*/ 0 w 2428651"/>
              <a:gd name="connsiteY6" fmla="*/ 783898 h 794673"/>
              <a:gd name="connsiteX7" fmla="*/ 91635 w 2428651"/>
              <a:gd name="connsiteY7" fmla="*/ 624029 h 794673"/>
              <a:gd name="connsiteX8" fmla="*/ 1122690 w 2428651"/>
              <a:gd name="connsiteY8" fmla="*/ 22280 h 794673"/>
              <a:gd name="connsiteX9" fmla="*/ 1214276 w 2428651"/>
              <a:gd name="connsiteY9" fmla="*/ 0 h 79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8651" h="794673">
                <a:moveTo>
                  <a:pt x="1214276" y="0"/>
                </a:moveTo>
                <a:cubicBezTo>
                  <a:pt x="1247426" y="0"/>
                  <a:pt x="1280575" y="7427"/>
                  <a:pt x="1305862" y="22280"/>
                </a:cubicBezTo>
                <a:lnTo>
                  <a:pt x="2337065" y="624029"/>
                </a:lnTo>
                <a:cubicBezTo>
                  <a:pt x="2387639" y="653587"/>
                  <a:pt x="2428651" y="725129"/>
                  <a:pt x="2428651" y="783898"/>
                </a:cubicBezTo>
                <a:lnTo>
                  <a:pt x="2428651" y="794673"/>
                </a:lnTo>
                <a:lnTo>
                  <a:pt x="0" y="794673"/>
                </a:lnTo>
                <a:lnTo>
                  <a:pt x="0" y="783898"/>
                </a:lnTo>
                <a:cubicBezTo>
                  <a:pt x="0" y="725129"/>
                  <a:pt x="41011" y="653735"/>
                  <a:pt x="91635" y="624029"/>
                </a:cubicBezTo>
                <a:lnTo>
                  <a:pt x="1122690" y="22280"/>
                </a:lnTo>
                <a:cubicBezTo>
                  <a:pt x="1147977" y="7427"/>
                  <a:pt x="1181127" y="0"/>
                  <a:pt x="1214276" y="0"/>
                </a:cubicBezTo>
                <a:close/>
              </a:path>
            </a:pathLst>
          </a:custGeom>
          <a:solidFill>
            <a:schemeClr val="bg1">
              <a:lumMod val="85000"/>
            </a:schemeClr>
          </a:solidFill>
          <a:ln w="180975" cap="flat">
            <a:noFill/>
            <a:prstDash val="solid"/>
            <a:miter/>
          </a:ln>
        </p:spPr>
        <p:txBody>
          <a:bodyPr wrap="square" rtlCol="0" anchor="ctr">
            <a:noAutofit/>
          </a:bodyPr>
          <a:lstStyle/>
          <a:p>
            <a:endParaRPr lang="en-US" dirty="0"/>
          </a:p>
        </p:txBody>
      </p:sp>
      <p:sp>
        <p:nvSpPr>
          <p:cNvPr id="26" name="Freeform 25">
            <a:extLst>
              <a:ext uri="{FF2B5EF4-FFF2-40B4-BE49-F238E27FC236}">
                <a16:creationId xmlns:a16="http://schemas.microsoft.com/office/drawing/2014/main" id="{BCBBAD5E-27F2-2047-8211-EA3E4FF99328}"/>
              </a:ext>
            </a:extLst>
          </p:cNvPr>
          <p:cNvSpPr/>
          <p:nvPr userDrawn="1"/>
        </p:nvSpPr>
        <p:spPr>
          <a:xfrm>
            <a:off x="8702001" y="2061955"/>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180975" cap="flat">
            <a:noFill/>
            <a:prstDash val="solid"/>
            <a:miter/>
          </a:ln>
        </p:spPr>
        <p:txBody>
          <a:bodyPr rtlCol="0" anchor="ctr"/>
          <a:lstStyle/>
          <a:p>
            <a:endParaRPr lang="en-US" dirty="0"/>
          </a:p>
        </p:txBody>
      </p:sp>
      <p:sp>
        <p:nvSpPr>
          <p:cNvPr id="28" name="Freeform 27">
            <a:extLst>
              <a:ext uri="{FF2B5EF4-FFF2-40B4-BE49-F238E27FC236}">
                <a16:creationId xmlns:a16="http://schemas.microsoft.com/office/drawing/2014/main" id="{28088A47-C6B2-A442-B945-1888E965DCF1}"/>
              </a:ext>
            </a:extLst>
          </p:cNvPr>
          <p:cNvSpPr/>
          <p:nvPr userDrawn="1"/>
        </p:nvSpPr>
        <p:spPr>
          <a:xfrm>
            <a:off x="7553136" y="4069121"/>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180975"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E6CCFEEC-54EE-0745-A7E9-187AAEAAA97F}"/>
              </a:ext>
            </a:extLst>
          </p:cNvPr>
          <p:cNvSpPr/>
          <p:nvPr userDrawn="1"/>
        </p:nvSpPr>
        <p:spPr>
          <a:xfrm>
            <a:off x="6440497" y="-17958"/>
            <a:ext cx="2428651" cy="857802"/>
          </a:xfrm>
          <a:custGeom>
            <a:avLst/>
            <a:gdLst>
              <a:gd name="connsiteX0" fmla="*/ 0 w 2428651"/>
              <a:gd name="connsiteY0" fmla="*/ 0 h 857802"/>
              <a:gd name="connsiteX1" fmla="*/ 2428651 w 2428651"/>
              <a:gd name="connsiteY1" fmla="*/ 0 h 857802"/>
              <a:gd name="connsiteX2" fmla="*/ 2428651 w 2428651"/>
              <a:gd name="connsiteY2" fmla="*/ 73905 h 857802"/>
              <a:gd name="connsiteX3" fmla="*/ 2337065 w 2428651"/>
              <a:gd name="connsiteY3" fmla="*/ 233724 h 857802"/>
              <a:gd name="connsiteX4" fmla="*/ 1305862 w 2428651"/>
              <a:gd name="connsiteY4" fmla="*/ 835523 h 857802"/>
              <a:gd name="connsiteX5" fmla="*/ 1122690 w 2428651"/>
              <a:gd name="connsiteY5" fmla="*/ 835523 h 857802"/>
              <a:gd name="connsiteX6" fmla="*/ 91635 w 2428651"/>
              <a:gd name="connsiteY6" fmla="*/ 233724 h 857802"/>
              <a:gd name="connsiteX7" fmla="*/ 0 w 2428651"/>
              <a:gd name="connsiteY7" fmla="*/ 73905 h 85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651" h="857802">
                <a:moveTo>
                  <a:pt x="0" y="0"/>
                </a:moveTo>
                <a:lnTo>
                  <a:pt x="2428651" y="0"/>
                </a:lnTo>
                <a:lnTo>
                  <a:pt x="2428651" y="73905"/>
                </a:lnTo>
                <a:cubicBezTo>
                  <a:pt x="2428651" y="132674"/>
                  <a:pt x="2387639" y="204018"/>
                  <a:pt x="2337065" y="233724"/>
                </a:cubicBezTo>
                <a:lnTo>
                  <a:pt x="1305862" y="835523"/>
                </a:lnTo>
                <a:cubicBezTo>
                  <a:pt x="1255288" y="865229"/>
                  <a:pt x="1173264" y="865229"/>
                  <a:pt x="1122690" y="835523"/>
                </a:cubicBezTo>
                <a:lnTo>
                  <a:pt x="91635" y="233724"/>
                </a:lnTo>
                <a:cubicBezTo>
                  <a:pt x="41011" y="204217"/>
                  <a:pt x="0" y="132674"/>
                  <a:pt x="0" y="73905"/>
                </a:cubicBezTo>
                <a:close/>
              </a:path>
            </a:pathLst>
          </a:custGeom>
          <a:solidFill>
            <a:schemeClr val="bg1">
              <a:lumMod val="85000"/>
            </a:schemeClr>
          </a:solidFill>
          <a:ln w="180975" cap="flat">
            <a:noFill/>
            <a:prstDash val="solid"/>
            <a:miter/>
          </a:ln>
        </p:spPr>
        <p:txBody>
          <a:bodyPr wrap="square" rtlCol="0" anchor="ctr">
            <a:noAutofit/>
          </a:bodyPr>
          <a:lstStyle/>
          <a:p>
            <a:endParaRPr lang="en-US" dirty="0"/>
          </a:p>
        </p:txBody>
      </p:sp>
      <p:sp>
        <p:nvSpPr>
          <p:cNvPr id="19" name="Freeform 18">
            <a:extLst>
              <a:ext uri="{FF2B5EF4-FFF2-40B4-BE49-F238E27FC236}">
                <a16:creationId xmlns:a16="http://schemas.microsoft.com/office/drawing/2014/main" id="{76794CDC-7114-4D49-B114-A7F7CD3B07C4}"/>
              </a:ext>
            </a:extLst>
          </p:cNvPr>
          <p:cNvSpPr/>
          <p:nvPr userDrawn="1"/>
        </p:nvSpPr>
        <p:spPr>
          <a:xfrm>
            <a:off x="9839136" y="82658"/>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180975" cap="flat">
            <a:noFill/>
            <a:prstDash val="solid"/>
            <a:miter/>
          </a:ln>
        </p:spPr>
        <p:txBody>
          <a:bodyPr rtlCol="0" anchor="ctr"/>
          <a:lstStyle/>
          <a:p>
            <a:endParaRPr lang="en-US" dirty="0"/>
          </a:p>
        </p:txBody>
      </p:sp>
      <p:sp>
        <p:nvSpPr>
          <p:cNvPr id="20" name="Freeform 19">
            <a:extLst>
              <a:ext uri="{FF2B5EF4-FFF2-40B4-BE49-F238E27FC236}">
                <a16:creationId xmlns:a16="http://schemas.microsoft.com/office/drawing/2014/main" id="{66B27987-76C4-8749-ADC9-997AF52FCDDD}"/>
              </a:ext>
            </a:extLst>
          </p:cNvPr>
          <p:cNvSpPr/>
          <p:nvPr userDrawn="1"/>
        </p:nvSpPr>
        <p:spPr>
          <a:xfrm>
            <a:off x="7553136" y="82658"/>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85000"/>
            </a:schemeClr>
          </a:solidFill>
          <a:ln w="180975"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E8EBFA50-EDE3-5D48-9F29-9946D3DFB0DB}"/>
              </a:ext>
            </a:extLst>
          </p:cNvPr>
          <p:cNvSpPr/>
          <p:nvPr userDrawn="1"/>
        </p:nvSpPr>
        <p:spPr>
          <a:xfrm>
            <a:off x="10987917" y="-17958"/>
            <a:ext cx="1204082" cy="856638"/>
          </a:xfrm>
          <a:custGeom>
            <a:avLst/>
            <a:gdLst>
              <a:gd name="connsiteX0" fmla="*/ 0 w 1204082"/>
              <a:gd name="connsiteY0" fmla="*/ 0 h 856638"/>
              <a:gd name="connsiteX1" fmla="*/ 1204082 w 1204082"/>
              <a:gd name="connsiteY1" fmla="*/ 0 h 856638"/>
              <a:gd name="connsiteX2" fmla="*/ 1204082 w 1204082"/>
              <a:gd name="connsiteY2" fmla="*/ 856638 h 856638"/>
              <a:gd name="connsiteX3" fmla="*/ 1165535 w 1204082"/>
              <a:gd name="connsiteY3" fmla="*/ 852233 h 856638"/>
              <a:gd name="connsiteX4" fmla="*/ 1122690 w 1204082"/>
              <a:gd name="connsiteY4" fmla="*/ 835523 h 856638"/>
              <a:gd name="connsiteX5" fmla="*/ 91635 w 1204082"/>
              <a:gd name="connsiteY5" fmla="*/ 233724 h 856638"/>
              <a:gd name="connsiteX6" fmla="*/ 0 w 1204082"/>
              <a:gd name="connsiteY6" fmla="*/ 73905 h 85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4082" h="856638">
                <a:moveTo>
                  <a:pt x="0" y="0"/>
                </a:moveTo>
                <a:lnTo>
                  <a:pt x="1204082" y="0"/>
                </a:lnTo>
                <a:lnTo>
                  <a:pt x="1204082" y="856638"/>
                </a:lnTo>
                <a:lnTo>
                  <a:pt x="1165535" y="852233"/>
                </a:lnTo>
                <a:cubicBezTo>
                  <a:pt x="1149943" y="848519"/>
                  <a:pt x="1135334" y="842950"/>
                  <a:pt x="1122690" y="835523"/>
                </a:cubicBezTo>
                <a:lnTo>
                  <a:pt x="91635" y="233724"/>
                </a:lnTo>
                <a:cubicBezTo>
                  <a:pt x="41011" y="204217"/>
                  <a:pt x="0" y="132674"/>
                  <a:pt x="0" y="73905"/>
                </a:cubicBezTo>
                <a:close/>
              </a:path>
            </a:pathLst>
          </a:custGeom>
          <a:solidFill>
            <a:schemeClr val="bg1">
              <a:lumMod val="85000"/>
            </a:schemeClr>
          </a:solidFill>
          <a:ln w="180975" cap="flat">
            <a:noFill/>
            <a:prstDash val="solid"/>
            <a:miter/>
          </a:ln>
        </p:spPr>
        <p:txBody>
          <a:bodyPr wrap="square" rtlCol="0" anchor="ctr">
            <a:noAutofit/>
          </a:bodyPr>
          <a:lstStyle/>
          <a:p>
            <a:endParaRPr lang="en-US" dirty="0"/>
          </a:p>
        </p:txBody>
      </p:sp>
      <p:sp>
        <p:nvSpPr>
          <p:cNvPr id="24" name="Freeform 23">
            <a:extLst>
              <a:ext uri="{FF2B5EF4-FFF2-40B4-BE49-F238E27FC236}">
                <a16:creationId xmlns:a16="http://schemas.microsoft.com/office/drawing/2014/main" id="{012A8680-07D3-A742-86F4-5758D221D0C5}"/>
              </a:ext>
            </a:extLst>
          </p:cNvPr>
          <p:cNvSpPr/>
          <p:nvPr userDrawn="1"/>
        </p:nvSpPr>
        <p:spPr>
          <a:xfrm>
            <a:off x="8701917" y="-17958"/>
            <a:ext cx="2428651" cy="857802"/>
          </a:xfrm>
          <a:custGeom>
            <a:avLst/>
            <a:gdLst>
              <a:gd name="connsiteX0" fmla="*/ 0 w 2428651"/>
              <a:gd name="connsiteY0" fmla="*/ 0 h 857802"/>
              <a:gd name="connsiteX1" fmla="*/ 2428651 w 2428651"/>
              <a:gd name="connsiteY1" fmla="*/ 0 h 857802"/>
              <a:gd name="connsiteX2" fmla="*/ 2428651 w 2428651"/>
              <a:gd name="connsiteY2" fmla="*/ 73905 h 857802"/>
              <a:gd name="connsiteX3" fmla="*/ 2337065 w 2428651"/>
              <a:gd name="connsiteY3" fmla="*/ 233724 h 857802"/>
              <a:gd name="connsiteX4" fmla="*/ 1305862 w 2428651"/>
              <a:gd name="connsiteY4" fmla="*/ 835523 h 857802"/>
              <a:gd name="connsiteX5" fmla="*/ 1122690 w 2428651"/>
              <a:gd name="connsiteY5" fmla="*/ 835523 h 857802"/>
              <a:gd name="connsiteX6" fmla="*/ 91635 w 2428651"/>
              <a:gd name="connsiteY6" fmla="*/ 233724 h 857802"/>
              <a:gd name="connsiteX7" fmla="*/ 0 w 2428651"/>
              <a:gd name="connsiteY7" fmla="*/ 73905 h 85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651" h="857802">
                <a:moveTo>
                  <a:pt x="0" y="0"/>
                </a:moveTo>
                <a:lnTo>
                  <a:pt x="2428651" y="0"/>
                </a:lnTo>
                <a:lnTo>
                  <a:pt x="2428651" y="73905"/>
                </a:lnTo>
                <a:cubicBezTo>
                  <a:pt x="2428651" y="132674"/>
                  <a:pt x="2387639" y="204018"/>
                  <a:pt x="2337065" y="233724"/>
                </a:cubicBezTo>
                <a:lnTo>
                  <a:pt x="1305862" y="835523"/>
                </a:lnTo>
                <a:cubicBezTo>
                  <a:pt x="1255288" y="865229"/>
                  <a:pt x="1173264" y="865229"/>
                  <a:pt x="1122690" y="835523"/>
                </a:cubicBezTo>
                <a:lnTo>
                  <a:pt x="91635" y="233724"/>
                </a:lnTo>
                <a:cubicBezTo>
                  <a:pt x="41011" y="204217"/>
                  <a:pt x="0" y="132674"/>
                  <a:pt x="0" y="73905"/>
                </a:cubicBezTo>
                <a:close/>
              </a:path>
            </a:pathLst>
          </a:custGeom>
          <a:solidFill>
            <a:schemeClr val="bg1">
              <a:lumMod val="85000"/>
            </a:schemeClr>
          </a:solidFill>
          <a:ln w="180975" cap="flat">
            <a:noFill/>
            <a:prstDash val="solid"/>
            <a:miter/>
          </a:ln>
        </p:spPr>
        <p:txBody>
          <a:bodyPr wrap="square" rtlCol="0" anchor="ctr">
            <a:noAutofit/>
          </a:bodyPr>
          <a:lstStyle/>
          <a:p>
            <a:endParaRPr lang="en-US" dirty="0"/>
          </a:p>
        </p:txBody>
      </p:sp>
      <p:sp>
        <p:nvSpPr>
          <p:cNvPr id="5" name="Freeform 4">
            <a:extLst>
              <a:ext uri="{FF2B5EF4-FFF2-40B4-BE49-F238E27FC236}">
                <a16:creationId xmlns:a16="http://schemas.microsoft.com/office/drawing/2014/main" id="{1A518A73-3993-D040-9D30-E37C2852975E}"/>
              </a:ext>
            </a:extLst>
          </p:cNvPr>
          <p:cNvSpPr/>
          <p:nvPr userDrawn="1"/>
        </p:nvSpPr>
        <p:spPr>
          <a:xfrm>
            <a:off x="9981786"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75000"/>
            </a:schemeClr>
          </a:solidFill>
          <a:ln w="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1C9D6E4C-ADE4-0C4C-A481-7EB4F7BB53B0}"/>
              </a:ext>
            </a:extLst>
          </p:cNvPr>
          <p:cNvSpPr/>
          <p:nvPr userDrawn="1"/>
        </p:nvSpPr>
        <p:spPr>
          <a:xfrm>
            <a:off x="11114609" y="-17958"/>
            <a:ext cx="1077391" cy="703820"/>
          </a:xfrm>
          <a:custGeom>
            <a:avLst/>
            <a:gdLst>
              <a:gd name="connsiteX0" fmla="*/ 0 w 1077391"/>
              <a:gd name="connsiteY0" fmla="*/ 0 h 703820"/>
              <a:gd name="connsiteX1" fmla="*/ 1077391 w 1077391"/>
              <a:gd name="connsiteY1" fmla="*/ 0 h 703820"/>
              <a:gd name="connsiteX2" fmla="*/ 1077391 w 1077391"/>
              <a:gd name="connsiteY2" fmla="*/ 703531 h 703820"/>
              <a:gd name="connsiteX3" fmla="*/ 1074853 w 1077391"/>
              <a:gd name="connsiteY3" fmla="*/ 703820 h 703820"/>
              <a:gd name="connsiteX4" fmla="*/ 993783 w 1077391"/>
              <a:gd name="connsiteY4" fmla="*/ 684142 h 703820"/>
              <a:gd name="connsiteX5" fmla="*/ 81113 w 1077391"/>
              <a:gd name="connsiteY5" fmla="*/ 152636 h 703820"/>
              <a:gd name="connsiteX6" fmla="*/ 0 w 1077391"/>
              <a:gd name="connsiteY6" fmla="*/ 11485 h 70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391" h="703820">
                <a:moveTo>
                  <a:pt x="0" y="0"/>
                </a:moveTo>
                <a:lnTo>
                  <a:pt x="1077391" y="0"/>
                </a:lnTo>
                <a:lnTo>
                  <a:pt x="1077391" y="703531"/>
                </a:lnTo>
                <a:lnTo>
                  <a:pt x="1074853" y="703820"/>
                </a:lnTo>
                <a:cubicBezTo>
                  <a:pt x="1045510" y="703820"/>
                  <a:pt x="1016167" y="697261"/>
                  <a:pt x="993783" y="684142"/>
                </a:cubicBezTo>
                <a:lnTo>
                  <a:pt x="81113" y="152636"/>
                </a:lnTo>
                <a:cubicBezTo>
                  <a:pt x="36302" y="126575"/>
                  <a:pt x="0" y="63389"/>
                  <a:pt x="0" y="11485"/>
                </a:cubicBezTo>
                <a:close/>
              </a:path>
            </a:pathLst>
          </a:custGeom>
          <a:solidFill>
            <a:schemeClr val="bg1">
              <a:lumMod val="75000"/>
            </a:schemeClr>
          </a:solidFill>
          <a:ln w="0" cap="flat">
            <a:noFill/>
            <a:prstDash val="solid"/>
            <a:miter/>
          </a:ln>
        </p:spPr>
        <p:txBody>
          <a:bodyPr wrap="square" rtlCol="0" anchor="ctr">
            <a:noAutofit/>
          </a:bodyPr>
          <a:lstStyle/>
          <a:p>
            <a:endParaRPr lang="en-US" dirty="0"/>
          </a:p>
        </p:txBody>
      </p:sp>
      <p:sp>
        <p:nvSpPr>
          <p:cNvPr id="7" name="Freeform 6">
            <a:extLst>
              <a:ext uri="{FF2B5EF4-FFF2-40B4-BE49-F238E27FC236}">
                <a16:creationId xmlns:a16="http://schemas.microsoft.com/office/drawing/2014/main" id="{F10F3C5F-DCC1-294B-AF83-9C6F6456505B}"/>
              </a:ext>
            </a:extLst>
          </p:cNvPr>
          <p:cNvSpPr/>
          <p:nvPr userDrawn="1"/>
        </p:nvSpPr>
        <p:spPr>
          <a:xfrm>
            <a:off x="8828609"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1" y="126400"/>
                  <a:pt x="2068723" y="152636"/>
                </a:cubicBezTo>
                <a:lnTo>
                  <a:pt x="1155923" y="684142"/>
                </a:lnTo>
                <a:cubicBezTo>
                  <a:pt x="1111155" y="710379"/>
                  <a:pt x="1038550" y="710379"/>
                  <a:pt x="993783" y="684142"/>
                </a:cubicBezTo>
                <a:lnTo>
                  <a:pt x="81113" y="152636"/>
                </a:lnTo>
                <a:cubicBezTo>
                  <a:pt x="36302" y="126575"/>
                  <a:pt x="0" y="63389"/>
                  <a:pt x="0" y="11485"/>
                </a:cubicBezTo>
                <a:close/>
              </a:path>
            </a:pathLst>
          </a:custGeom>
          <a:solidFill>
            <a:schemeClr val="bg1">
              <a:lumMod val="75000"/>
            </a:schemeClr>
          </a:solidFill>
          <a:ln w="0" cap="flat">
            <a:noFill/>
            <a:prstDash val="solid"/>
            <a:miter/>
          </a:ln>
        </p:spPr>
        <p:txBody>
          <a:bodyPr wrap="square" rtlCol="0" anchor="ctr">
            <a:noAutofit/>
          </a:bodyPr>
          <a:lstStyle/>
          <a:p>
            <a:endParaRPr lang="en-US" dirty="0"/>
          </a:p>
        </p:txBody>
      </p:sp>
      <p:sp>
        <p:nvSpPr>
          <p:cNvPr id="8" name="Freeform 7">
            <a:extLst>
              <a:ext uri="{FF2B5EF4-FFF2-40B4-BE49-F238E27FC236}">
                <a16:creationId xmlns:a16="http://schemas.microsoft.com/office/drawing/2014/main" id="{390A3B4B-54EB-4642-AF36-0E740E8F756D}"/>
              </a:ext>
            </a:extLst>
          </p:cNvPr>
          <p:cNvSpPr/>
          <p:nvPr userDrawn="1"/>
        </p:nvSpPr>
        <p:spPr>
          <a:xfrm>
            <a:off x="6568986"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0" y="126400"/>
                  <a:pt x="2068723" y="152636"/>
                </a:cubicBezTo>
                <a:lnTo>
                  <a:pt x="1155923" y="684142"/>
                </a:lnTo>
                <a:cubicBezTo>
                  <a:pt x="1111156" y="710379"/>
                  <a:pt x="1038550" y="710379"/>
                  <a:pt x="993783" y="684142"/>
                </a:cubicBezTo>
                <a:lnTo>
                  <a:pt x="81113" y="152636"/>
                </a:lnTo>
                <a:cubicBezTo>
                  <a:pt x="36302" y="126575"/>
                  <a:pt x="0" y="63389"/>
                  <a:pt x="0" y="11485"/>
                </a:cubicBezTo>
                <a:close/>
              </a:path>
            </a:pathLst>
          </a:custGeom>
          <a:solidFill>
            <a:schemeClr val="bg1">
              <a:lumMod val="75000"/>
            </a:schemeClr>
          </a:solidFill>
          <a:ln w="0" cap="flat">
            <a:noFill/>
            <a:prstDash val="solid"/>
            <a:miter/>
          </a:ln>
        </p:spPr>
        <p:txBody>
          <a:bodyPr wrap="square" rtlCol="0" anchor="ctr">
            <a:noAutofit/>
          </a:bodyPr>
          <a:lstStyle/>
          <a:p>
            <a:endParaRPr lang="en-US" dirty="0"/>
          </a:p>
        </p:txBody>
      </p:sp>
      <p:sp>
        <p:nvSpPr>
          <p:cNvPr id="12" name="Freeform 11">
            <a:extLst>
              <a:ext uri="{FF2B5EF4-FFF2-40B4-BE49-F238E27FC236}">
                <a16:creationId xmlns:a16="http://schemas.microsoft.com/office/drawing/2014/main" id="{E58E31CD-D5F9-8946-BC30-8568D845C0AE}"/>
              </a:ext>
            </a:extLst>
          </p:cNvPr>
          <p:cNvSpPr/>
          <p:nvPr userDrawn="1"/>
        </p:nvSpPr>
        <p:spPr>
          <a:xfrm>
            <a:off x="6590276" y="6237570"/>
            <a:ext cx="2107231" cy="620431"/>
          </a:xfrm>
          <a:custGeom>
            <a:avLst/>
            <a:gdLst>
              <a:gd name="connsiteX0" fmla="*/ 1053563 w 2107231"/>
              <a:gd name="connsiteY0" fmla="*/ 0 h 620431"/>
              <a:gd name="connsiteX1" fmla="*/ 1134633 w 2107231"/>
              <a:gd name="connsiteY1" fmla="*/ 19678 h 620431"/>
              <a:gd name="connsiteX2" fmla="*/ 2047433 w 2107231"/>
              <a:gd name="connsiteY2" fmla="*/ 551140 h 620431"/>
              <a:gd name="connsiteX3" fmla="*/ 2104756 w 2107231"/>
              <a:gd name="connsiteY3" fmla="*/ 612063 h 620431"/>
              <a:gd name="connsiteX4" fmla="*/ 2107231 w 2107231"/>
              <a:gd name="connsiteY4" fmla="*/ 620431 h 620431"/>
              <a:gd name="connsiteX5" fmla="*/ 0 w 2107231"/>
              <a:gd name="connsiteY5" fmla="*/ 620431 h 620431"/>
              <a:gd name="connsiteX6" fmla="*/ 2463 w 2107231"/>
              <a:gd name="connsiteY6" fmla="*/ 612112 h 620431"/>
              <a:gd name="connsiteX7" fmla="*/ 59823 w 2107231"/>
              <a:gd name="connsiteY7" fmla="*/ 551140 h 620431"/>
              <a:gd name="connsiteX8" fmla="*/ 972493 w 2107231"/>
              <a:gd name="connsiteY8" fmla="*/ 19678 h 620431"/>
              <a:gd name="connsiteX9" fmla="*/ 1053563 w 2107231"/>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1" h="620431">
                <a:moveTo>
                  <a:pt x="1053563" y="0"/>
                </a:moveTo>
                <a:cubicBezTo>
                  <a:pt x="1082906" y="0"/>
                  <a:pt x="1112249" y="6560"/>
                  <a:pt x="1134633" y="19678"/>
                </a:cubicBezTo>
                <a:lnTo>
                  <a:pt x="2047433" y="551140"/>
                </a:lnTo>
                <a:cubicBezTo>
                  <a:pt x="2069817" y="564193"/>
                  <a:pt x="2090084" y="586516"/>
                  <a:pt x="2104756" y="612063"/>
                </a:cubicBezTo>
                <a:lnTo>
                  <a:pt x="2107231" y="620431"/>
                </a:lnTo>
                <a:lnTo>
                  <a:pt x="0" y="620431"/>
                </a:lnTo>
                <a:lnTo>
                  <a:pt x="2463" y="612112"/>
                </a:lnTo>
                <a:cubicBezTo>
                  <a:pt x="17140" y="586581"/>
                  <a:pt x="37418" y="564258"/>
                  <a:pt x="59823" y="551140"/>
                </a:cubicBezTo>
                <a:lnTo>
                  <a:pt x="972493" y="19678"/>
                </a:lnTo>
                <a:cubicBezTo>
                  <a:pt x="994877" y="6560"/>
                  <a:pt x="1024220" y="0"/>
                  <a:pt x="1053563" y="0"/>
                </a:cubicBezTo>
                <a:close/>
              </a:path>
            </a:pathLst>
          </a:custGeom>
          <a:solidFill>
            <a:schemeClr val="bg1">
              <a:lumMod val="75000"/>
            </a:schemeClr>
          </a:solidFill>
          <a:ln w="0" cap="flat">
            <a:noFill/>
            <a:prstDash val="solid"/>
            <a:miter/>
          </a:ln>
        </p:spPr>
        <p:txBody>
          <a:bodyPr wrap="square" rtlCol="0" anchor="ctr">
            <a:noAutofit/>
          </a:bodyPr>
          <a:lstStyle/>
          <a:p>
            <a:endParaRPr lang="en-US" dirty="0"/>
          </a:p>
        </p:txBody>
      </p:sp>
      <p:sp>
        <p:nvSpPr>
          <p:cNvPr id="14" name="Freeform 13">
            <a:extLst>
              <a:ext uri="{FF2B5EF4-FFF2-40B4-BE49-F238E27FC236}">
                <a16:creationId xmlns:a16="http://schemas.microsoft.com/office/drawing/2014/main" id="{64660417-0369-4E48-84D9-0730AE3800D1}"/>
              </a:ext>
            </a:extLst>
          </p:cNvPr>
          <p:cNvSpPr/>
          <p:nvPr userDrawn="1"/>
        </p:nvSpPr>
        <p:spPr>
          <a:xfrm>
            <a:off x="9981786"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lumMod val="75000"/>
            </a:schemeClr>
          </a:solidFill>
          <a:ln w="0" cap="flat">
            <a:noFill/>
            <a:prstDash val="solid"/>
            <a:miter/>
          </a:ln>
        </p:spPr>
        <p:txBody>
          <a:bodyPr rtlCol="0" anchor="ctr"/>
          <a:lstStyle/>
          <a:p>
            <a:endParaRPr lang="en-US" dirty="0"/>
          </a:p>
        </p:txBody>
      </p:sp>
      <p:sp>
        <p:nvSpPr>
          <p:cNvPr id="16" name="Freeform 15">
            <a:extLst>
              <a:ext uri="{FF2B5EF4-FFF2-40B4-BE49-F238E27FC236}">
                <a16:creationId xmlns:a16="http://schemas.microsoft.com/office/drawing/2014/main" id="{A455AE46-F9A2-D944-840C-540E91AC60C7}"/>
              </a:ext>
            </a:extLst>
          </p:cNvPr>
          <p:cNvSpPr/>
          <p:nvPr userDrawn="1"/>
        </p:nvSpPr>
        <p:spPr>
          <a:xfrm>
            <a:off x="7699533"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solidFill>
          <a:ln w="0" cap="flat">
            <a:noFill/>
            <a:prstDash val="solid"/>
            <a:miter/>
          </a:ln>
        </p:spPr>
        <p:txBody>
          <a:bodyPr rtlCol="0" anchor="ctr"/>
          <a:lstStyle/>
          <a:p>
            <a:endParaRPr lang="en-US" dirty="0"/>
          </a:p>
        </p:txBody>
      </p:sp>
      <p:sp>
        <p:nvSpPr>
          <p:cNvPr id="17" name="Freeform 16">
            <a:extLst>
              <a:ext uri="{FF2B5EF4-FFF2-40B4-BE49-F238E27FC236}">
                <a16:creationId xmlns:a16="http://schemas.microsoft.com/office/drawing/2014/main" id="{663E2FB3-1B84-374F-A5FB-D389346C6701}"/>
              </a:ext>
            </a:extLst>
          </p:cNvPr>
          <p:cNvSpPr/>
          <p:nvPr userDrawn="1"/>
        </p:nvSpPr>
        <p:spPr>
          <a:xfrm>
            <a:off x="7699533"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solidFill>
          <a:ln w="0"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894AFEAA-F18F-F949-91CB-1F9BE7162647}"/>
              </a:ext>
            </a:extLst>
          </p:cNvPr>
          <p:cNvSpPr>
            <a:spLocks noGrp="1"/>
          </p:cNvSpPr>
          <p:nvPr>
            <p:ph type="ctrTitle" hasCustomPrompt="1"/>
          </p:nvPr>
        </p:nvSpPr>
        <p:spPr>
          <a:xfrm>
            <a:off x="425289" y="1621617"/>
            <a:ext cx="7150830" cy="2387600"/>
          </a:xfrm>
          <a:prstGeom prst="rect">
            <a:avLst/>
          </a:prstGeom>
        </p:spPr>
        <p:txBody>
          <a:bodyPr anchor="b">
            <a:normAutofit/>
          </a:bodyPr>
          <a:lstStyle>
            <a:lvl1pPr algn="l">
              <a:defRPr sz="4200" b="0" i="0">
                <a:solidFill>
                  <a:schemeClr val="tx1"/>
                </a:solidFill>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E5E90C0F-F45F-0446-8D8B-3A0D1B304E85}"/>
              </a:ext>
            </a:extLst>
          </p:cNvPr>
          <p:cNvSpPr>
            <a:spLocks noGrp="1"/>
          </p:cNvSpPr>
          <p:nvPr>
            <p:ph type="subTitle" idx="1"/>
          </p:nvPr>
        </p:nvSpPr>
        <p:spPr>
          <a:xfrm>
            <a:off x="425289" y="4101292"/>
            <a:ext cx="7150830" cy="677010"/>
          </a:xfrm>
          <a:prstGeom prst="rect">
            <a:avLst/>
          </a:prstGeo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22" name="Picture 21">
            <a:extLst>
              <a:ext uri="{FF2B5EF4-FFF2-40B4-BE49-F238E27FC236}">
                <a16:creationId xmlns:a16="http://schemas.microsoft.com/office/drawing/2014/main" id="{142502CD-81B4-5245-A358-423AA716A6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7165" y="5052850"/>
            <a:ext cx="4319715" cy="488103"/>
          </a:xfrm>
          <a:prstGeom prst="rect">
            <a:avLst/>
          </a:prstGeom>
        </p:spPr>
      </p:pic>
      <p:sp>
        <p:nvSpPr>
          <p:cNvPr id="23" name="Freeform 22">
            <a:extLst>
              <a:ext uri="{FF2B5EF4-FFF2-40B4-BE49-F238E27FC236}">
                <a16:creationId xmlns:a16="http://schemas.microsoft.com/office/drawing/2014/main" id="{4B0BF86A-7DAB-EE47-AE0B-5789B37E0C5C}"/>
              </a:ext>
            </a:extLst>
          </p:cNvPr>
          <p:cNvSpPr/>
          <p:nvPr userDrawn="1"/>
        </p:nvSpPr>
        <p:spPr>
          <a:xfrm>
            <a:off x="8841402" y="223472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solidFill>
          <a:ln w="0" cap="flat">
            <a:noFill/>
            <a:prstDash val="solid"/>
            <a:miter/>
          </a:ln>
        </p:spPr>
        <p:txBody>
          <a:bodyPr rtlCol="0" anchor="ctr"/>
          <a:lstStyle/>
          <a:p>
            <a:endParaRPr lang="en-US" dirty="0"/>
          </a:p>
        </p:txBody>
      </p:sp>
    </p:spTree>
    <p:extLst>
      <p:ext uri="{BB962C8B-B14F-4D97-AF65-F5344CB8AC3E}">
        <p14:creationId xmlns:p14="http://schemas.microsoft.com/office/powerpoint/2010/main" val="4015807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Title Slide Option 2">
    <p:spTree>
      <p:nvGrpSpPr>
        <p:cNvPr id="1" name=""/>
        <p:cNvGrpSpPr/>
        <p:nvPr/>
      </p:nvGrpSpPr>
      <p:grpSpPr>
        <a:xfrm>
          <a:off x="0" y="0"/>
          <a:ext cx="0" cy="0"/>
          <a:chOff x="0" y="0"/>
          <a:chExt cx="0" cy="0"/>
        </a:xfrm>
      </p:grpSpPr>
      <p:sp>
        <p:nvSpPr>
          <p:cNvPr id="31" name="Freeform 30">
            <a:extLst>
              <a:ext uri="{FF2B5EF4-FFF2-40B4-BE49-F238E27FC236}">
                <a16:creationId xmlns:a16="http://schemas.microsoft.com/office/drawing/2014/main" id="{384E2262-8C3A-B941-834E-33D7830CD338}"/>
              </a:ext>
            </a:extLst>
          </p:cNvPr>
          <p:cNvSpPr/>
          <p:nvPr userDrawn="1"/>
        </p:nvSpPr>
        <p:spPr>
          <a:xfrm>
            <a:off x="10987918" y="2063112"/>
            <a:ext cx="1204083" cy="2770053"/>
          </a:xfrm>
          <a:custGeom>
            <a:avLst/>
            <a:gdLst>
              <a:gd name="connsiteX0" fmla="*/ 1204083 w 1204083"/>
              <a:gd name="connsiteY0" fmla="*/ 0 h 2770053"/>
              <a:gd name="connsiteX1" fmla="*/ 1204083 w 1204083"/>
              <a:gd name="connsiteY1" fmla="*/ 2770053 h 2770053"/>
              <a:gd name="connsiteX2" fmla="*/ 1165535 w 1204083"/>
              <a:gd name="connsiteY2" fmla="*/ 2765648 h 2770053"/>
              <a:gd name="connsiteX3" fmla="*/ 1122690 w 1204083"/>
              <a:gd name="connsiteY3" fmla="*/ 2748938 h 2770053"/>
              <a:gd name="connsiteX4" fmla="*/ 91635 w 1204083"/>
              <a:gd name="connsiteY4" fmla="*/ 2147139 h 2770053"/>
              <a:gd name="connsiteX5" fmla="*/ 0 w 1204083"/>
              <a:gd name="connsiteY5" fmla="*/ 1987320 h 2770053"/>
              <a:gd name="connsiteX6" fmla="*/ 0 w 1204083"/>
              <a:gd name="connsiteY6" fmla="*/ 782733 h 2770053"/>
              <a:gd name="connsiteX7" fmla="*/ 91635 w 1204083"/>
              <a:gd name="connsiteY7" fmla="*/ 622864 h 2770053"/>
              <a:gd name="connsiteX8" fmla="*/ 1122690 w 1204083"/>
              <a:gd name="connsiteY8" fmla="*/ 21115 h 2770053"/>
              <a:gd name="connsiteX9" fmla="*/ 1165535 w 1204083"/>
              <a:gd name="connsiteY9" fmla="*/ 4406 h 277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4083" h="2770053">
                <a:moveTo>
                  <a:pt x="1204083" y="0"/>
                </a:moveTo>
                <a:lnTo>
                  <a:pt x="1204083" y="2770053"/>
                </a:lnTo>
                <a:lnTo>
                  <a:pt x="1165535" y="2765648"/>
                </a:lnTo>
                <a:cubicBezTo>
                  <a:pt x="1149943" y="2761935"/>
                  <a:pt x="1135334" y="2756365"/>
                  <a:pt x="1122690" y="2748938"/>
                </a:cubicBezTo>
                <a:lnTo>
                  <a:pt x="91635" y="2147139"/>
                </a:lnTo>
                <a:cubicBezTo>
                  <a:pt x="41011" y="2117632"/>
                  <a:pt x="0" y="2046089"/>
                  <a:pt x="0" y="1987320"/>
                </a:cubicBezTo>
                <a:lnTo>
                  <a:pt x="0" y="782733"/>
                </a:lnTo>
                <a:cubicBezTo>
                  <a:pt x="0" y="723964"/>
                  <a:pt x="41011" y="652570"/>
                  <a:pt x="91635" y="622864"/>
                </a:cubicBezTo>
                <a:lnTo>
                  <a:pt x="1122690" y="21115"/>
                </a:lnTo>
                <a:cubicBezTo>
                  <a:pt x="1135334" y="13689"/>
                  <a:pt x="1149943" y="8119"/>
                  <a:pt x="1165535" y="4406"/>
                </a:cubicBezTo>
                <a:close/>
              </a:path>
            </a:pathLst>
          </a:custGeom>
          <a:solidFill>
            <a:schemeClr val="accent6">
              <a:lumMod val="60000"/>
              <a:lumOff val="40000"/>
            </a:schemeClr>
          </a:solidFill>
          <a:ln w="180975" cap="flat">
            <a:noFill/>
            <a:prstDash val="solid"/>
            <a:miter/>
          </a:ln>
        </p:spPr>
        <p:txBody>
          <a:bodyPr wrap="square" rtlCol="0" anchor="ctr">
            <a:noAutofit/>
          </a:bodyPr>
          <a:lstStyle/>
          <a:p>
            <a:endParaRPr lang="en-US" dirty="0"/>
          </a:p>
        </p:txBody>
      </p:sp>
      <p:sp>
        <p:nvSpPr>
          <p:cNvPr id="13" name="Freeform 12">
            <a:extLst>
              <a:ext uri="{FF2B5EF4-FFF2-40B4-BE49-F238E27FC236}">
                <a16:creationId xmlns:a16="http://schemas.microsoft.com/office/drawing/2014/main" id="{27659609-6976-FF40-A628-774AF5304312}"/>
              </a:ext>
            </a:extLst>
          </p:cNvPr>
          <p:cNvSpPr/>
          <p:nvPr userDrawn="1"/>
        </p:nvSpPr>
        <p:spPr>
          <a:xfrm>
            <a:off x="11114609" y="2242237"/>
            <a:ext cx="1077391" cy="2448556"/>
          </a:xfrm>
          <a:custGeom>
            <a:avLst/>
            <a:gdLst>
              <a:gd name="connsiteX0" fmla="*/ 1074853 w 1077391"/>
              <a:gd name="connsiteY0" fmla="*/ 0 h 2448556"/>
              <a:gd name="connsiteX1" fmla="*/ 1077391 w 1077391"/>
              <a:gd name="connsiteY1" fmla="*/ 289 h 2448556"/>
              <a:gd name="connsiteX2" fmla="*/ 1077391 w 1077391"/>
              <a:gd name="connsiteY2" fmla="*/ 2448266 h 2448556"/>
              <a:gd name="connsiteX3" fmla="*/ 1074853 w 1077391"/>
              <a:gd name="connsiteY3" fmla="*/ 2448556 h 2448556"/>
              <a:gd name="connsiteX4" fmla="*/ 993783 w 1077391"/>
              <a:gd name="connsiteY4" fmla="*/ 2428878 h 2448556"/>
              <a:gd name="connsiteX5" fmla="*/ 81113 w 1077391"/>
              <a:gd name="connsiteY5" fmla="*/ 1897373 h 2448556"/>
              <a:gd name="connsiteX6" fmla="*/ 0 w 1077391"/>
              <a:gd name="connsiteY6" fmla="*/ 1756221 h 2448556"/>
              <a:gd name="connsiteX7" fmla="*/ 0 w 1077391"/>
              <a:gd name="connsiteY7" fmla="*/ 692335 h 2448556"/>
              <a:gd name="connsiteX8" fmla="*/ 81113 w 1077391"/>
              <a:gd name="connsiteY8" fmla="*/ 551139 h 2448556"/>
              <a:gd name="connsiteX9" fmla="*/ 993783 w 1077391"/>
              <a:gd name="connsiteY9" fmla="*/ 19677 h 2448556"/>
              <a:gd name="connsiteX10" fmla="*/ 1074853 w 1077391"/>
              <a:gd name="connsiteY10" fmla="*/ 0 h 244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391" h="2448556">
                <a:moveTo>
                  <a:pt x="1074853" y="0"/>
                </a:moveTo>
                <a:lnTo>
                  <a:pt x="1077391" y="289"/>
                </a:lnTo>
                <a:lnTo>
                  <a:pt x="1077391" y="2448266"/>
                </a:lnTo>
                <a:lnTo>
                  <a:pt x="1074853" y="2448556"/>
                </a:lnTo>
                <a:cubicBezTo>
                  <a:pt x="1045510" y="2448556"/>
                  <a:pt x="1016167" y="2441996"/>
                  <a:pt x="993783" y="2428878"/>
                </a:cubicBezTo>
                <a:lnTo>
                  <a:pt x="81113" y="1897373"/>
                </a:lnTo>
                <a:cubicBezTo>
                  <a:pt x="36302" y="1871311"/>
                  <a:pt x="0" y="1808125"/>
                  <a:pt x="0" y="1756221"/>
                </a:cubicBezTo>
                <a:lnTo>
                  <a:pt x="0" y="692335"/>
                </a:lnTo>
                <a:cubicBezTo>
                  <a:pt x="0" y="640430"/>
                  <a:pt x="36302" y="577375"/>
                  <a:pt x="81113" y="551139"/>
                </a:cubicBezTo>
                <a:lnTo>
                  <a:pt x="993783" y="19677"/>
                </a:lnTo>
                <a:cubicBezTo>
                  <a:pt x="1016167" y="6559"/>
                  <a:pt x="1045510" y="0"/>
                  <a:pt x="1074853" y="0"/>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29" name="Freeform 28">
            <a:extLst>
              <a:ext uri="{FF2B5EF4-FFF2-40B4-BE49-F238E27FC236}">
                <a16:creationId xmlns:a16="http://schemas.microsoft.com/office/drawing/2014/main" id="{D4E136AD-9775-7F44-8AF1-E4437F9FBD3D}"/>
              </a:ext>
            </a:extLst>
          </p:cNvPr>
          <p:cNvSpPr/>
          <p:nvPr userDrawn="1"/>
        </p:nvSpPr>
        <p:spPr>
          <a:xfrm>
            <a:off x="10987917" y="6073638"/>
            <a:ext cx="1204082" cy="790092"/>
          </a:xfrm>
          <a:custGeom>
            <a:avLst/>
            <a:gdLst>
              <a:gd name="connsiteX0" fmla="*/ 1204082 w 1204082"/>
              <a:gd name="connsiteY0" fmla="*/ 0 h 790092"/>
              <a:gd name="connsiteX1" fmla="*/ 1204082 w 1204082"/>
              <a:gd name="connsiteY1" fmla="*/ 790092 h 790092"/>
              <a:gd name="connsiteX2" fmla="*/ 0 w 1204082"/>
              <a:gd name="connsiteY2" fmla="*/ 790092 h 790092"/>
              <a:gd name="connsiteX3" fmla="*/ 0 w 1204082"/>
              <a:gd name="connsiteY3" fmla="*/ 782733 h 790092"/>
              <a:gd name="connsiteX4" fmla="*/ 91635 w 1204082"/>
              <a:gd name="connsiteY4" fmla="*/ 622864 h 790092"/>
              <a:gd name="connsiteX5" fmla="*/ 1122690 w 1204082"/>
              <a:gd name="connsiteY5" fmla="*/ 21115 h 790092"/>
              <a:gd name="connsiteX6" fmla="*/ 1165535 w 1204082"/>
              <a:gd name="connsiteY6" fmla="*/ 4405 h 79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4082" h="790092">
                <a:moveTo>
                  <a:pt x="1204082" y="0"/>
                </a:moveTo>
                <a:lnTo>
                  <a:pt x="1204082" y="790092"/>
                </a:lnTo>
                <a:lnTo>
                  <a:pt x="0" y="790092"/>
                </a:lnTo>
                <a:lnTo>
                  <a:pt x="0" y="782733"/>
                </a:lnTo>
                <a:cubicBezTo>
                  <a:pt x="0" y="723964"/>
                  <a:pt x="41011" y="652570"/>
                  <a:pt x="91635" y="622864"/>
                </a:cubicBezTo>
                <a:lnTo>
                  <a:pt x="1122690" y="21115"/>
                </a:lnTo>
                <a:cubicBezTo>
                  <a:pt x="1135334" y="13689"/>
                  <a:pt x="1149943" y="8119"/>
                  <a:pt x="1165535" y="4405"/>
                </a:cubicBezTo>
                <a:close/>
              </a:path>
            </a:pathLst>
          </a:custGeom>
          <a:solidFill>
            <a:schemeClr val="accent6">
              <a:lumMod val="60000"/>
              <a:lumOff val="40000"/>
            </a:schemeClr>
          </a:solidFill>
          <a:ln w="180975" cap="flat">
            <a:noFill/>
            <a:prstDash val="solid"/>
            <a:miter/>
          </a:ln>
        </p:spPr>
        <p:txBody>
          <a:bodyPr wrap="square" rtlCol="0" anchor="ctr">
            <a:noAutofit/>
          </a:bodyPr>
          <a:lstStyle/>
          <a:p>
            <a:endParaRPr lang="en-US" dirty="0"/>
          </a:p>
        </p:txBody>
      </p:sp>
      <p:sp>
        <p:nvSpPr>
          <p:cNvPr id="30" name="Freeform 29">
            <a:extLst>
              <a:ext uri="{FF2B5EF4-FFF2-40B4-BE49-F238E27FC236}">
                <a16:creationId xmlns:a16="http://schemas.microsoft.com/office/drawing/2014/main" id="{95A3EF39-B6AB-ED46-9B2E-9CA343C6CD90}"/>
              </a:ext>
            </a:extLst>
          </p:cNvPr>
          <p:cNvSpPr/>
          <p:nvPr userDrawn="1"/>
        </p:nvSpPr>
        <p:spPr>
          <a:xfrm>
            <a:off x="8701917" y="6072473"/>
            <a:ext cx="2428651" cy="794673"/>
          </a:xfrm>
          <a:custGeom>
            <a:avLst/>
            <a:gdLst>
              <a:gd name="connsiteX0" fmla="*/ 1214276 w 2428651"/>
              <a:gd name="connsiteY0" fmla="*/ 0 h 794673"/>
              <a:gd name="connsiteX1" fmla="*/ 1305862 w 2428651"/>
              <a:gd name="connsiteY1" fmla="*/ 22280 h 794673"/>
              <a:gd name="connsiteX2" fmla="*/ 2337065 w 2428651"/>
              <a:gd name="connsiteY2" fmla="*/ 624029 h 794673"/>
              <a:gd name="connsiteX3" fmla="*/ 2428651 w 2428651"/>
              <a:gd name="connsiteY3" fmla="*/ 783898 h 794673"/>
              <a:gd name="connsiteX4" fmla="*/ 2428651 w 2428651"/>
              <a:gd name="connsiteY4" fmla="*/ 794673 h 794673"/>
              <a:gd name="connsiteX5" fmla="*/ 0 w 2428651"/>
              <a:gd name="connsiteY5" fmla="*/ 794673 h 794673"/>
              <a:gd name="connsiteX6" fmla="*/ 0 w 2428651"/>
              <a:gd name="connsiteY6" fmla="*/ 783898 h 794673"/>
              <a:gd name="connsiteX7" fmla="*/ 91635 w 2428651"/>
              <a:gd name="connsiteY7" fmla="*/ 624029 h 794673"/>
              <a:gd name="connsiteX8" fmla="*/ 1122690 w 2428651"/>
              <a:gd name="connsiteY8" fmla="*/ 22280 h 794673"/>
              <a:gd name="connsiteX9" fmla="*/ 1214276 w 2428651"/>
              <a:gd name="connsiteY9" fmla="*/ 0 h 79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8651" h="794673">
                <a:moveTo>
                  <a:pt x="1214276" y="0"/>
                </a:moveTo>
                <a:cubicBezTo>
                  <a:pt x="1247426" y="0"/>
                  <a:pt x="1280575" y="7427"/>
                  <a:pt x="1305862" y="22280"/>
                </a:cubicBezTo>
                <a:lnTo>
                  <a:pt x="2337065" y="624029"/>
                </a:lnTo>
                <a:cubicBezTo>
                  <a:pt x="2387639" y="653587"/>
                  <a:pt x="2428651" y="725129"/>
                  <a:pt x="2428651" y="783898"/>
                </a:cubicBezTo>
                <a:lnTo>
                  <a:pt x="2428651" y="794673"/>
                </a:lnTo>
                <a:lnTo>
                  <a:pt x="0" y="794673"/>
                </a:lnTo>
                <a:lnTo>
                  <a:pt x="0" y="783898"/>
                </a:lnTo>
                <a:cubicBezTo>
                  <a:pt x="0" y="725129"/>
                  <a:pt x="41011" y="653735"/>
                  <a:pt x="91635" y="624029"/>
                </a:cubicBezTo>
                <a:lnTo>
                  <a:pt x="1122690" y="22280"/>
                </a:lnTo>
                <a:cubicBezTo>
                  <a:pt x="1147977" y="7427"/>
                  <a:pt x="1181127" y="0"/>
                  <a:pt x="1214276" y="0"/>
                </a:cubicBezTo>
                <a:close/>
              </a:path>
            </a:pathLst>
          </a:custGeom>
          <a:solidFill>
            <a:schemeClr val="accent6">
              <a:lumMod val="60000"/>
              <a:lumOff val="40000"/>
            </a:schemeClr>
          </a:solidFill>
          <a:ln w="180975" cap="flat">
            <a:noFill/>
            <a:prstDash val="solid"/>
            <a:miter/>
          </a:ln>
        </p:spPr>
        <p:txBody>
          <a:bodyPr wrap="square" rtlCol="0" anchor="ctr">
            <a:noAutofit/>
          </a:bodyPr>
          <a:lstStyle/>
          <a:p>
            <a:endParaRPr lang="en-US" dirty="0"/>
          </a:p>
        </p:txBody>
      </p:sp>
      <p:sp>
        <p:nvSpPr>
          <p:cNvPr id="9" name="Freeform 8">
            <a:extLst>
              <a:ext uri="{FF2B5EF4-FFF2-40B4-BE49-F238E27FC236}">
                <a16:creationId xmlns:a16="http://schemas.microsoft.com/office/drawing/2014/main" id="{879AF698-51E1-E04B-873E-88DE28D62B6E}"/>
              </a:ext>
            </a:extLst>
          </p:cNvPr>
          <p:cNvSpPr/>
          <p:nvPr userDrawn="1"/>
        </p:nvSpPr>
        <p:spPr>
          <a:xfrm>
            <a:off x="11135898" y="6237570"/>
            <a:ext cx="1056102" cy="620431"/>
          </a:xfrm>
          <a:custGeom>
            <a:avLst/>
            <a:gdLst>
              <a:gd name="connsiteX0" fmla="*/ 1053564 w 1056102"/>
              <a:gd name="connsiteY0" fmla="*/ 0 h 620431"/>
              <a:gd name="connsiteX1" fmla="*/ 1056102 w 1056102"/>
              <a:gd name="connsiteY1" fmla="*/ 290 h 620431"/>
              <a:gd name="connsiteX2" fmla="*/ 1056102 w 1056102"/>
              <a:gd name="connsiteY2" fmla="*/ 620431 h 620431"/>
              <a:gd name="connsiteX3" fmla="*/ 0 w 1056102"/>
              <a:gd name="connsiteY3" fmla="*/ 620431 h 620431"/>
              <a:gd name="connsiteX4" fmla="*/ 2463 w 1056102"/>
              <a:gd name="connsiteY4" fmla="*/ 612112 h 620431"/>
              <a:gd name="connsiteX5" fmla="*/ 59824 w 1056102"/>
              <a:gd name="connsiteY5" fmla="*/ 551140 h 620431"/>
              <a:gd name="connsiteX6" fmla="*/ 972494 w 1056102"/>
              <a:gd name="connsiteY6" fmla="*/ 19678 h 620431"/>
              <a:gd name="connsiteX7" fmla="*/ 1053564 w 1056102"/>
              <a:gd name="connsiteY7"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102" h="620431">
                <a:moveTo>
                  <a:pt x="1053564" y="0"/>
                </a:moveTo>
                <a:lnTo>
                  <a:pt x="1056102" y="290"/>
                </a:lnTo>
                <a:lnTo>
                  <a:pt x="1056102" y="620431"/>
                </a:lnTo>
                <a:lnTo>
                  <a:pt x="0" y="620431"/>
                </a:lnTo>
                <a:lnTo>
                  <a:pt x="2463" y="612112"/>
                </a:lnTo>
                <a:cubicBezTo>
                  <a:pt x="17140" y="586581"/>
                  <a:pt x="37418" y="564258"/>
                  <a:pt x="59824" y="551140"/>
                </a:cubicBezTo>
                <a:lnTo>
                  <a:pt x="972494" y="19678"/>
                </a:lnTo>
                <a:cubicBezTo>
                  <a:pt x="994878" y="6560"/>
                  <a:pt x="1024221" y="0"/>
                  <a:pt x="1053564" y="0"/>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10" name="Freeform 9">
            <a:extLst>
              <a:ext uri="{FF2B5EF4-FFF2-40B4-BE49-F238E27FC236}">
                <a16:creationId xmlns:a16="http://schemas.microsoft.com/office/drawing/2014/main" id="{A076BA73-0C54-F44B-99FB-C84B2E1E42CF}"/>
              </a:ext>
            </a:extLst>
          </p:cNvPr>
          <p:cNvSpPr/>
          <p:nvPr userDrawn="1"/>
        </p:nvSpPr>
        <p:spPr>
          <a:xfrm>
            <a:off x="8849898" y="6237570"/>
            <a:ext cx="2107233" cy="620431"/>
          </a:xfrm>
          <a:custGeom>
            <a:avLst/>
            <a:gdLst>
              <a:gd name="connsiteX0" fmla="*/ 1053564 w 2107233"/>
              <a:gd name="connsiteY0" fmla="*/ 0 h 620431"/>
              <a:gd name="connsiteX1" fmla="*/ 1134634 w 2107233"/>
              <a:gd name="connsiteY1" fmla="*/ 19678 h 620431"/>
              <a:gd name="connsiteX2" fmla="*/ 2047434 w 2107233"/>
              <a:gd name="connsiteY2" fmla="*/ 551140 h 620431"/>
              <a:gd name="connsiteX3" fmla="*/ 2104757 w 2107233"/>
              <a:gd name="connsiteY3" fmla="*/ 612063 h 620431"/>
              <a:gd name="connsiteX4" fmla="*/ 2107233 w 2107233"/>
              <a:gd name="connsiteY4" fmla="*/ 620431 h 620431"/>
              <a:gd name="connsiteX5" fmla="*/ 0 w 2107233"/>
              <a:gd name="connsiteY5" fmla="*/ 620431 h 620431"/>
              <a:gd name="connsiteX6" fmla="*/ 2463 w 2107233"/>
              <a:gd name="connsiteY6" fmla="*/ 612112 h 620431"/>
              <a:gd name="connsiteX7" fmla="*/ 59824 w 2107233"/>
              <a:gd name="connsiteY7" fmla="*/ 551140 h 620431"/>
              <a:gd name="connsiteX8" fmla="*/ 972494 w 2107233"/>
              <a:gd name="connsiteY8" fmla="*/ 19678 h 620431"/>
              <a:gd name="connsiteX9" fmla="*/ 1053564 w 2107233"/>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3" h="620431">
                <a:moveTo>
                  <a:pt x="1053564" y="0"/>
                </a:moveTo>
                <a:cubicBezTo>
                  <a:pt x="1082907" y="0"/>
                  <a:pt x="1112250" y="6560"/>
                  <a:pt x="1134634" y="19678"/>
                </a:cubicBezTo>
                <a:lnTo>
                  <a:pt x="2047434" y="551140"/>
                </a:lnTo>
                <a:cubicBezTo>
                  <a:pt x="2069818" y="564193"/>
                  <a:pt x="2090085" y="586516"/>
                  <a:pt x="2104757" y="612063"/>
                </a:cubicBezTo>
                <a:lnTo>
                  <a:pt x="2107233" y="620431"/>
                </a:lnTo>
                <a:lnTo>
                  <a:pt x="0" y="620431"/>
                </a:lnTo>
                <a:lnTo>
                  <a:pt x="2463" y="612112"/>
                </a:lnTo>
                <a:cubicBezTo>
                  <a:pt x="17140" y="586581"/>
                  <a:pt x="37419" y="564258"/>
                  <a:pt x="59824" y="551140"/>
                </a:cubicBezTo>
                <a:lnTo>
                  <a:pt x="972494" y="19678"/>
                </a:lnTo>
                <a:cubicBezTo>
                  <a:pt x="994878" y="6560"/>
                  <a:pt x="1024221" y="0"/>
                  <a:pt x="1053564" y="0"/>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25" name="Freeform 24">
            <a:extLst>
              <a:ext uri="{FF2B5EF4-FFF2-40B4-BE49-F238E27FC236}">
                <a16:creationId xmlns:a16="http://schemas.microsoft.com/office/drawing/2014/main" id="{D42EFB8F-705D-584B-85EA-D6FF4D970EA7}"/>
              </a:ext>
            </a:extLst>
          </p:cNvPr>
          <p:cNvSpPr/>
          <p:nvPr userDrawn="1"/>
        </p:nvSpPr>
        <p:spPr>
          <a:xfrm>
            <a:off x="6440497" y="6072473"/>
            <a:ext cx="2428651" cy="794673"/>
          </a:xfrm>
          <a:custGeom>
            <a:avLst/>
            <a:gdLst>
              <a:gd name="connsiteX0" fmla="*/ 1214276 w 2428651"/>
              <a:gd name="connsiteY0" fmla="*/ 0 h 794673"/>
              <a:gd name="connsiteX1" fmla="*/ 1305862 w 2428651"/>
              <a:gd name="connsiteY1" fmla="*/ 22280 h 794673"/>
              <a:gd name="connsiteX2" fmla="*/ 2337065 w 2428651"/>
              <a:gd name="connsiteY2" fmla="*/ 624029 h 794673"/>
              <a:gd name="connsiteX3" fmla="*/ 2428651 w 2428651"/>
              <a:gd name="connsiteY3" fmla="*/ 783898 h 794673"/>
              <a:gd name="connsiteX4" fmla="*/ 2428651 w 2428651"/>
              <a:gd name="connsiteY4" fmla="*/ 794673 h 794673"/>
              <a:gd name="connsiteX5" fmla="*/ 0 w 2428651"/>
              <a:gd name="connsiteY5" fmla="*/ 794673 h 794673"/>
              <a:gd name="connsiteX6" fmla="*/ 0 w 2428651"/>
              <a:gd name="connsiteY6" fmla="*/ 783898 h 794673"/>
              <a:gd name="connsiteX7" fmla="*/ 91635 w 2428651"/>
              <a:gd name="connsiteY7" fmla="*/ 624029 h 794673"/>
              <a:gd name="connsiteX8" fmla="*/ 1122690 w 2428651"/>
              <a:gd name="connsiteY8" fmla="*/ 22280 h 794673"/>
              <a:gd name="connsiteX9" fmla="*/ 1214276 w 2428651"/>
              <a:gd name="connsiteY9" fmla="*/ 0 h 79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8651" h="794673">
                <a:moveTo>
                  <a:pt x="1214276" y="0"/>
                </a:moveTo>
                <a:cubicBezTo>
                  <a:pt x="1247426" y="0"/>
                  <a:pt x="1280575" y="7427"/>
                  <a:pt x="1305862" y="22280"/>
                </a:cubicBezTo>
                <a:lnTo>
                  <a:pt x="2337065" y="624029"/>
                </a:lnTo>
                <a:cubicBezTo>
                  <a:pt x="2387639" y="653587"/>
                  <a:pt x="2428651" y="725129"/>
                  <a:pt x="2428651" y="783898"/>
                </a:cubicBezTo>
                <a:lnTo>
                  <a:pt x="2428651" y="794673"/>
                </a:lnTo>
                <a:lnTo>
                  <a:pt x="0" y="794673"/>
                </a:lnTo>
                <a:lnTo>
                  <a:pt x="0" y="783898"/>
                </a:lnTo>
                <a:cubicBezTo>
                  <a:pt x="0" y="725129"/>
                  <a:pt x="41011" y="653735"/>
                  <a:pt x="91635" y="624029"/>
                </a:cubicBezTo>
                <a:lnTo>
                  <a:pt x="1122690" y="22280"/>
                </a:lnTo>
                <a:cubicBezTo>
                  <a:pt x="1147977" y="7427"/>
                  <a:pt x="1181127" y="0"/>
                  <a:pt x="1214276" y="0"/>
                </a:cubicBezTo>
                <a:close/>
              </a:path>
            </a:pathLst>
          </a:custGeom>
          <a:solidFill>
            <a:schemeClr val="accent6">
              <a:lumMod val="60000"/>
              <a:lumOff val="40000"/>
            </a:schemeClr>
          </a:solidFill>
          <a:ln w="180975" cap="flat">
            <a:noFill/>
            <a:prstDash val="solid"/>
            <a:miter/>
          </a:ln>
        </p:spPr>
        <p:txBody>
          <a:bodyPr wrap="square" rtlCol="0" anchor="ctr">
            <a:noAutofit/>
          </a:bodyPr>
          <a:lstStyle/>
          <a:p>
            <a:endParaRPr lang="en-US" dirty="0"/>
          </a:p>
        </p:txBody>
      </p:sp>
      <p:sp>
        <p:nvSpPr>
          <p:cNvPr id="26" name="Freeform 25">
            <a:extLst>
              <a:ext uri="{FF2B5EF4-FFF2-40B4-BE49-F238E27FC236}">
                <a16:creationId xmlns:a16="http://schemas.microsoft.com/office/drawing/2014/main" id="{BCBBAD5E-27F2-2047-8211-EA3E4FF99328}"/>
              </a:ext>
            </a:extLst>
          </p:cNvPr>
          <p:cNvSpPr/>
          <p:nvPr userDrawn="1"/>
        </p:nvSpPr>
        <p:spPr>
          <a:xfrm>
            <a:off x="8702001" y="2061955"/>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lumMod val="60000"/>
              <a:lumOff val="40000"/>
            </a:schemeClr>
          </a:solidFill>
          <a:ln w="180975"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B7F33F41-5B38-5C40-A6A4-2A9CD3C27375}"/>
              </a:ext>
            </a:extLst>
          </p:cNvPr>
          <p:cNvSpPr/>
          <p:nvPr userDrawn="1"/>
        </p:nvSpPr>
        <p:spPr>
          <a:xfrm>
            <a:off x="9839136" y="4069121"/>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lumMod val="60000"/>
              <a:lumOff val="40000"/>
            </a:schemeClr>
          </a:solidFill>
          <a:ln w="180975" cap="flat">
            <a:noFill/>
            <a:prstDash val="solid"/>
            <a:miter/>
          </a:ln>
        </p:spPr>
        <p:txBody>
          <a:bodyPr rtlCol="0" anchor="ctr"/>
          <a:lstStyle/>
          <a:p>
            <a:endParaRPr lang="en-US" dirty="0"/>
          </a:p>
        </p:txBody>
      </p:sp>
      <p:sp>
        <p:nvSpPr>
          <p:cNvPr id="28" name="Freeform 27">
            <a:extLst>
              <a:ext uri="{FF2B5EF4-FFF2-40B4-BE49-F238E27FC236}">
                <a16:creationId xmlns:a16="http://schemas.microsoft.com/office/drawing/2014/main" id="{28088A47-C6B2-A442-B945-1888E965DCF1}"/>
              </a:ext>
            </a:extLst>
          </p:cNvPr>
          <p:cNvSpPr/>
          <p:nvPr userDrawn="1"/>
        </p:nvSpPr>
        <p:spPr>
          <a:xfrm>
            <a:off x="7553136" y="4069121"/>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lumMod val="60000"/>
              <a:lumOff val="40000"/>
            </a:schemeClr>
          </a:solidFill>
          <a:ln w="180975"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E6CCFEEC-54EE-0745-A7E9-187AAEAAA97F}"/>
              </a:ext>
            </a:extLst>
          </p:cNvPr>
          <p:cNvSpPr/>
          <p:nvPr userDrawn="1"/>
        </p:nvSpPr>
        <p:spPr>
          <a:xfrm>
            <a:off x="6440497" y="-17958"/>
            <a:ext cx="2428651" cy="857802"/>
          </a:xfrm>
          <a:custGeom>
            <a:avLst/>
            <a:gdLst>
              <a:gd name="connsiteX0" fmla="*/ 0 w 2428651"/>
              <a:gd name="connsiteY0" fmla="*/ 0 h 857802"/>
              <a:gd name="connsiteX1" fmla="*/ 2428651 w 2428651"/>
              <a:gd name="connsiteY1" fmla="*/ 0 h 857802"/>
              <a:gd name="connsiteX2" fmla="*/ 2428651 w 2428651"/>
              <a:gd name="connsiteY2" fmla="*/ 73905 h 857802"/>
              <a:gd name="connsiteX3" fmla="*/ 2337065 w 2428651"/>
              <a:gd name="connsiteY3" fmla="*/ 233724 h 857802"/>
              <a:gd name="connsiteX4" fmla="*/ 1305862 w 2428651"/>
              <a:gd name="connsiteY4" fmla="*/ 835523 h 857802"/>
              <a:gd name="connsiteX5" fmla="*/ 1122690 w 2428651"/>
              <a:gd name="connsiteY5" fmla="*/ 835523 h 857802"/>
              <a:gd name="connsiteX6" fmla="*/ 91635 w 2428651"/>
              <a:gd name="connsiteY6" fmla="*/ 233724 h 857802"/>
              <a:gd name="connsiteX7" fmla="*/ 0 w 2428651"/>
              <a:gd name="connsiteY7" fmla="*/ 73905 h 85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651" h="857802">
                <a:moveTo>
                  <a:pt x="0" y="0"/>
                </a:moveTo>
                <a:lnTo>
                  <a:pt x="2428651" y="0"/>
                </a:lnTo>
                <a:lnTo>
                  <a:pt x="2428651" y="73905"/>
                </a:lnTo>
                <a:cubicBezTo>
                  <a:pt x="2428651" y="132674"/>
                  <a:pt x="2387639" y="204018"/>
                  <a:pt x="2337065" y="233724"/>
                </a:cubicBezTo>
                <a:lnTo>
                  <a:pt x="1305862" y="835523"/>
                </a:lnTo>
                <a:cubicBezTo>
                  <a:pt x="1255288" y="865229"/>
                  <a:pt x="1173264" y="865229"/>
                  <a:pt x="1122690" y="835523"/>
                </a:cubicBezTo>
                <a:lnTo>
                  <a:pt x="91635" y="233724"/>
                </a:lnTo>
                <a:cubicBezTo>
                  <a:pt x="41011" y="204217"/>
                  <a:pt x="0" y="132674"/>
                  <a:pt x="0" y="73905"/>
                </a:cubicBezTo>
                <a:close/>
              </a:path>
            </a:pathLst>
          </a:custGeom>
          <a:solidFill>
            <a:schemeClr val="accent6">
              <a:lumMod val="60000"/>
              <a:lumOff val="40000"/>
            </a:schemeClr>
          </a:solidFill>
          <a:ln w="180975" cap="flat">
            <a:noFill/>
            <a:prstDash val="solid"/>
            <a:miter/>
          </a:ln>
        </p:spPr>
        <p:txBody>
          <a:bodyPr wrap="square" rtlCol="0" anchor="ctr">
            <a:noAutofit/>
          </a:bodyPr>
          <a:lstStyle/>
          <a:p>
            <a:endParaRPr lang="en-US" dirty="0"/>
          </a:p>
        </p:txBody>
      </p:sp>
      <p:sp>
        <p:nvSpPr>
          <p:cNvPr id="19" name="Freeform 18">
            <a:extLst>
              <a:ext uri="{FF2B5EF4-FFF2-40B4-BE49-F238E27FC236}">
                <a16:creationId xmlns:a16="http://schemas.microsoft.com/office/drawing/2014/main" id="{76794CDC-7114-4D49-B114-A7F7CD3B07C4}"/>
              </a:ext>
            </a:extLst>
          </p:cNvPr>
          <p:cNvSpPr/>
          <p:nvPr userDrawn="1"/>
        </p:nvSpPr>
        <p:spPr>
          <a:xfrm>
            <a:off x="9839136" y="82658"/>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lumMod val="60000"/>
              <a:lumOff val="40000"/>
            </a:schemeClr>
          </a:solidFill>
          <a:ln w="180975" cap="flat">
            <a:noFill/>
            <a:prstDash val="solid"/>
            <a:miter/>
          </a:ln>
        </p:spPr>
        <p:txBody>
          <a:bodyPr rtlCol="0" anchor="ctr"/>
          <a:lstStyle/>
          <a:p>
            <a:endParaRPr lang="en-US" dirty="0"/>
          </a:p>
        </p:txBody>
      </p:sp>
      <p:sp>
        <p:nvSpPr>
          <p:cNvPr id="20" name="Freeform 19">
            <a:extLst>
              <a:ext uri="{FF2B5EF4-FFF2-40B4-BE49-F238E27FC236}">
                <a16:creationId xmlns:a16="http://schemas.microsoft.com/office/drawing/2014/main" id="{66B27987-76C4-8749-ADC9-997AF52FCDDD}"/>
              </a:ext>
            </a:extLst>
          </p:cNvPr>
          <p:cNvSpPr/>
          <p:nvPr userDrawn="1"/>
        </p:nvSpPr>
        <p:spPr>
          <a:xfrm>
            <a:off x="7553136" y="82658"/>
            <a:ext cx="2428650" cy="2772382"/>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lumMod val="60000"/>
              <a:lumOff val="40000"/>
            </a:schemeClr>
          </a:solidFill>
          <a:ln w="180975"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E8EBFA50-EDE3-5D48-9F29-9946D3DFB0DB}"/>
              </a:ext>
            </a:extLst>
          </p:cNvPr>
          <p:cNvSpPr/>
          <p:nvPr userDrawn="1"/>
        </p:nvSpPr>
        <p:spPr>
          <a:xfrm>
            <a:off x="10987917" y="-17958"/>
            <a:ext cx="1204082" cy="856638"/>
          </a:xfrm>
          <a:custGeom>
            <a:avLst/>
            <a:gdLst>
              <a:gd name="connsiteX0" fmla="*/ 0 w 1204082"/>
              <a:gd name="connsiteY0" fmla="*/ 0 h 856638"/>
              <a:gd name="connsiteX1" fmla="*/ 1204082 w 1204082"/>
              <a:gd name="connsiteY1" fmla="*/ 0 h 856638"/>
              <a:gd name="connsiteX2" fmla="*/ 1204082 w 1204082"/>
              <a:gd name="connsiteY2" fmla="*/ 856638 h 856638"/>
              <a:gd name="connsiteX3" fmla="*/ 1165535 w 1204082"/>
              <a:gd name="connsiteY3" fmla="*/ 852233 h 856638"/>
              <a:gd name="connsiteX4" fmla="*/ 1122690 w 1204082"/>
              <a:gd name="connsiteY4" fmla="*/ 835523 h 856638"/>
              <a:gd name="connsiteX5" fmla="*/ 91635 w 1204082"/>
              <a:gd name="connsiteY5" fmla="*/ 233724 h 856638"/>
              <a:gd name="connsiteX6" fmla="*/ 0 w 1204082"/>
              <a:gd name="connsiteY6" fmla="*/ 73905 h 85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4082" h="856638">
                <a:moveTo>
                  <a:pt x="0" y="0"/>
                </a:moveTo>
                <a:lnTo>
                  <a:pt x="1204082" y="0"/>
                </a:lnTo>
                <a:lnTo>
                  <a:pt x="1204082" y="856638"/>
                </a:lnTo>
                <a:lnTo>
                  <a:pt x="1165535" y="852233"/>
                </a:lnTo>
                <a:cubicBezTo>
                  <a:pt x="1149943" y="848519"/>
                  <a:pt x="1135334" y="842950"/>
                  <a:pt x="1122690" y="835523"/>
                </a:cubicBezTo>
                <a:lnTo>
                  <a:pt x="91635" y="233724"/>
                </a:lnTo>
                <a:cubicBezTo>
                  <a:pt x="41011" y="204217"/>
                  <a:pt x="0" y="132674"/>
                  <a:pt x="0" y="73905"/>
                </a:cubicBezTo>
                <a:close/>
              </a:path>
            </a:pathLst>
          </a:custGeom>
          <a:solidFill>
            <a:schemeClr val="accent6">
              <a:lumMod val="60000"/>
              <a:lumOff val="40000"/>
            </a:schemeClr>
          </a:solidFill>
          <a:ln w="180975" cap="flat">
            <a:noFill/>
            <a:prstDash val="solid"/>
            <a:miter/>
          </a:ln>
        </p:spPr>
        <p:txBody>
          <a:bodyPr wrap="square" rtlCol="0" anchor="ctr">
            <a:noAutofit/>
          </a:bodyPr>
          <a:lstStyle/>
          <a:p>
            <a:endParaRPr lang="en-US" dirty="0"/>
          </a:p>
        </p:txBody>
      </p:sp>
      <p:sp>
        <p:nvSpPr>
          <p:cNvPr id="24" name="Freeform 23">
            <a:extLst>
              <a:ext uri="{FF2B5EF4-FFF2-40B4-BE49-F238E27FC236}">
                <a16:creationId xmlns:a16="http://schemas.microsoft.com/office/drawing/2014/main" id="{012A8680-07D3-A742-86F4-5758D221D0C5}"/>
              </a:ext>
            </a:extLst>
          </p:cNvPr>
          <p:cNvSpPr/>
          <p:nvPr userDrawn="1"/>
        </p:nvSpPr>
        <p:spPr>
          <a:xfrm>
            <a:off x="8701917" y="-17958"/>
            <a:ext cx="2428651" cy="857802"/>
          </a:xfrm>
          <a:custGeom>
            <a:avLst/>
            <a:gdLst>
              <a:gd name="connsiteX0" fmla="*/ 0 w 2428651"/>
              <a:gd name="connsiteY0" fmla="*/ 0 h 857802"/>
              <a:gd name="connsiteX1" fmla="*/ 2428651 w 2428651"/>
              <a:gd name="connsiteY1" fmla="*/ 0 h 857802"/>
              <a:gd name="connsiteX2" fmla="*/ 2428651 w 2428651"/>
              <a:gd name="connsiteY2" fmla="*/ 73905 h 857802"/>
              <a:gd name="connsiteX3" fmla="*/ 2337065 w 2428651"/>
              <a:gd name="connsiteY3" fmla="*/ 233724 h 857802"/>
              <a:gd name="connsiteX4" fmla="*/ 1305862 w 2428651"/>
              <a:gd name="connsiteY4" fmla="*/ 835523 h 857802"/>
              <a:gd name="connsiteX5" fmla="*/ 1122690 w 2428651"/>
              <a:gd name="connsiteY5" fmla="*/ 835523 h 857802"/>
              <a:gd name="connsiteX6" fmla="*/ 91635 w 2428651"/>
              <a:gd name="connsiteY6" fmla="*/ 233724 h 857802"/>
              <a:gd name="connsiteX7" fmla="*/ 0 w 2428651"/>
              <a:gd name="connsiteY7" fmla="*/ 73905 h 85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651" h="857802">
                <a:moveTo>
                  <a:pt x="0" y="0"/>
                </a:moveTo>
                <a:lnTo>
                  <a:pt x="2428651" y="0"/>
                </a:lnTo>
                <a:lnTo>
                  <a:pt x="2428651" y="73905"/>
                </a:lnTo>
                <a:cubicBezTo>
                  <a:pt x="2428651" y="132674"/>
                  <a:pt x="2387639" y="204018"/>
                  <a:pt x="2337065" y="233724"/>
                </a:cubicBezTo>
                <a:lnTo>
                  <a:pt x="1305862" y="835523"/>
                </a:lnTo>
                <a:cubicBezTo>
                  <a:pt x="1255288" y="865229"/>
                  <a:pt x="1173264" y="865229"/>
                  <a:pt x="1122690" y="835523"/>
                </a:cubicBezTo>
                <a:lnTo>
                  <a:pt x="91635" y="233724"/>
                </a:lnTo>
                <a:cubicBezTo>
                  <a:pt x="41011" y="204217"/>
                  <a:pt x="0" y="132674"/>
                  <a:pt x="0" y="73905"/>
                </a:cubicBezTo>
                <a:close/>
              </a:path>
            </a:pathLst>
          </a:custGeom>
          <a:solidFill>
            <a:schemeClr val="accent6">
              <a:lumMod val="60000"/>
              <a:lumOff val="40000"/>
            </a:schemeClr>
          </a:solidFill>
          <a:ln w="180975" cap="flat">
            <a:noFill/>
            <a:prstDash val="solid"/>
            <a:miter/>
          </a:ln>
        </p:spPr>
        <p:txBody>
          <a:bodyPr wrap="square" rtlCol="0" anchor="ctr">
            <a:noAutofit/>
          </a:bodyPr>
          <a:lstStyle/>
          <a:p>
            <a:endParaRPr lang="en-US" dirty="0"/>
          </a:p>
        </p:txBody>
      </p:sp>
      <p:sp>
        <p:nvSpPr>
          <p:cNvPr id="5" name="Freeform 4">
            <a:extLst>
              <a:ext uri="{FF2B5EF4-FFF2-40B4-BE49-F238E27FC236}">
                <a16:creationId xmlns:a16="http://schemas.microsoft.com/office/drawing/2014/main" id="{1A518A73-3993-D040-9D30-E37C2852975E}"/>
              </a:ext>
            </a:extLst>
          </p:cNvPr>
          <p:cNvSpPr/>
          <p:nvPr userDrawn="1"/>
        </p:nvSpPr>
        <p:spPr>
          <a:xfrm>
            <a:off x="9981786"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solidFill>
          <a:ln w="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1C9D6E4C-ADE4-0C4C-A481-7EB4F7BB53B0}"/>
              </a:ext>
            </a:extLst>
          </p:cNvPr>
          <p:cNvSpPr/>
          <p:nvPr userDrawn="1"/>
        </p:nvSpPr>
        <p:spPr>
          <a:xfrm>
            <a:off x="11114609" y="-17958"/>
            <a:ext cx="1077391" cy="703820"/>
          </a:xfrm>
          <a:custGeom>
            <a:avLst/>
            <a:gdLst>
              <a:gd name="connsiteX0" fmla="*/ 0 w 1077391"/>
              <a:gd name="connsiteY0" fmla="*/ 0 h 703820"/>
              <a:gd name="connsiteX1" fmla="*/ 1077391 w 1077391"/>
              <a:gd name="connsiteY1" fmla="*/ 0 h 703820"/>
              <a:gd name="connsiteX2" fmla="*/ 1077391 w 1077391"/>
              <a:gd name="connsiteY2" fmla="*/ 703531 h 703820"/>
              <a:gd name="connsiteX3" fmla="*/ 1074853 w 1077391"/>
              <a:gd name="connsiteY3" fmla="*/ 703820 h 703820"/>
              <a:gd name="connsiteX4" fmla="*/ 993783 w 1077391"/>
              <a:gd name="connsiteY4" fmla="*/ 684142 h 703820"/>
              <a:gd name="connsiteX5" fmla="*/ 81113 w 1077391"/>
              <a:gd name="connsiteY5" fmla="*/ 152636 h 703820"/>
              <a:gd name="connsiteX6" fmla="*/ 0 w 1077391"/>
              <a:gd name="connsiteY6" fmla="*/ 11485 h 70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391" h="703820">
                <a:moveTo>
                  <a:pt x="0" y="0"/>
                </a:moveTo>
                <a:lnTo>
                  <a:pt x="1077391" y="0"/>
                </a:lnTo>
                <a:lnTo>
                  <a:pt x="1077391" y="703531"/>
                </a:lnTo>
                <a:lnTo>
                  <a:pt x="1074853" y="703820"/>
                </a:lnTo>
                <a:cubicBezTo>
                  <a:pt x="1045510" y="703820"/>
                  <a:pt x="1016167" y="697261"/>
                  <a:pt x="993783" y="684142"/>
                </a:cubicBezTo>
                <a:lnTo>
                  <a:pt x="81113" y="152636"/>
                </a:lnTo>
                <a:cubicBezTo>
                  <a:pt x="36302" y="126575"/>
                  <a:pt x="0" y="63389"/>
                  <a:pt x="0" y="11485"/>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7" name="Freeform 6">
            <a:extLst>
              <a:ext uri="{FF2B5EF4-FFF2-40B4-BE49-F238E27FC236}">
                <a16:creationId xmlns:a16="http://schemas.microsoft.com/office/drawing/2014/main" id="{F10F3C5F-DCC1-294B-AF83-9C6F6456505B}"/>
              </a:ext>
            </a:extLst>
          </p:cNvPr>
          <p:cNvSpPr/>
          <p:nvPr userDrawn="1"/>
        </p:nvSpPr>
        <p:spPr>
          <a:xfrm>
            <a:off x="8828609"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1" y="126400"/>
                  <a:pt x="2068723" y="152636"/>
                </a:cubicBezTo>
                <a:lnTo>
                  <a:pt x="1155923" y="684142"/>
                </a:lnTo>
                <a:cubicBezTo>
                  <a:pt x="1111155" y="710379"/>
                  <a:pt x="1038550" y="710379"/>
                  <a:pt x="993783" y="684142"/>
                </a:cubicBezTo>
                <a:lnTo>
                  <a:pt x="81113" y="152636"/>
                </a:lnTo>
                <a:cubicBezTo>
                  <a:pt x="36302" y="126575"/>
                  <a:pt x="0" y="63389"/>
                  <a:pt x="0" y="11485"/>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8" name="Freeform 7">
            <a:extLst>
              <a:ext uri="{FF2B5EF4-FFF2-40B4-BE49-F238E27FC236}">
                <a16:creationId xmlns:a16="http://schemas.microsoft.com/office/drawing/2014/main" id="{390A3B4B-54EB-4642-AF36-0E740E8F756D}"/>
              </a:ext>
            </a:extLst>
          </p:cNvPr>
          <p:cNvSpPr/>
          <p:nvPr userDrawn="1"/>
        </p:nvSpPr>
        <p:spPr>
          <a:xfrm>
            <a:off x="6568986" y="-17957"/>
            <a:ext cx="2149793" cy="703819"/>
          </a:xfrm>
          <a:custGeom>
            <a:avLst/>
            <a:gdLst>
              <a:gd name="connsiteX0" fmla="*/ 0 w 2149793"/>
              <a:gd name="connsiteY0" fmla="*/ 0 h 703819"/>
              <a:gd name="connsiteX1" fmla="*/ 2149793 w 2149793"/>
              <a:gd name="connsiteY1" fmla="*/ 0 h 703819"/>
              <a:gd name="connsiteX2" fmla="*/ 2149793 w 2149793"/>
              <a:gd name="connsiteY2" fmla="*/ 11485 h 703819"/>
              <a:gd name="connsiteX3" fmla="*/ 2068723 w 2149793"/>
              <a:gd name="connsiteY3" fmla="*/ 152636 h 703819"/>
              <a:gd name="connsiteX4" fmla="*/ 1155923 w 2149793"/>
              <a:gd name="connsiteY4" fmla="*/ 684142 h 703819"/>
              <a:gd name="connsiteX5" fmla="*/ 993783 w 2149793"/>
              <a:gd name="connsiteY5" fmla="*/ 684142 h 703819"/>
              <a:gd name="connsiteX6" fmla="*/ 81113 w 2149793"/>
              <a:gd name="connsiteY6" fmla="*/ 152636 h 703819"/>
              <a:gd name="connsiteX7" fmla="*/ 0 w 2149793"/>
              <a:gd name="connsiteY7" fmla="*/ 11485 h 70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793" h="703819">
                <a:moveTo>
                  <a:pt x="0" y="0"/>
                </a:moveTo>
                <a:lnTo>
                  <a:pt x="2149793" y="0"/>
                </a:lnTo>
                <a:lnTo>
                  <a:pt x="2149793" y="11485"/>
                </a:lnTo>
                <a:cubicBezTo>
                  <a:pt x="2149793" y="63389"/>
                  <a:pt x="2113490" y="126400"/>
                  <a:pt x="2068723" y="152636"/>
                </a:cubicBezTo>
                <a:lnTo>
                  <a:pt x="1155923" y="684142"/>
                </a:lnTo>
                <a:cubicBezTo>
                  <a:pt x="1111156" y="710379"/>
                  <a:pt x="1038550" y="710379"/>
                  <a:pt x="993783" y="684142"/>
                </a:cubicBezTo>
                <a:lnTo>
                  <a:pt x="81113" y="152636"/>
                </a:lnTo>
                <a:cubicBezTo>
                  <a:pt x="36302" y="126575"/>
                  <a:pt x="0" y="63389"/>
                  <a:pt x="0" y="11485"/>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12" name="Freeform 11">
            <a:extLst>
              <a:ext uri="{FF2B5EF4-FFF2-40B4-BE49-F238E27FC236}">
                <a16:creationId xmlns:a16="http://schemas.microsoft.com/office/drawing/2014/main" id="{E58E31CD-D5F9-8946-BC30-8568D845C0AE}"/>
              </a:ext>
            </a:extLst>
          </p:cNvPr>
          <p:cNvSpPr/>
          <p:nvPr userDrawn="1"/>
        </p:nvSpPr>
        <p:spPr>
          <a:xfrm>
            <a:off x="6590276" y="6237570"/>
            <a:ext cx="2107231" cy="620431"/>
          </a:xfrm>
          <a:custGeom>
            <a:avLst/>
            <a:gdLst>
              <a:gd name="connsiteX0" fmla="*/ 1053563 w 2107231"/>
              <a:gd name="connsiteY0" fmla="*/ 0 h 620431"/>
              <a:gd name="connsiteX1" fmla="*/ 1134633 w 2107231"/>
              <a:gd name="connsiteY1" fmla="*/ 19678 h 620431"/>
              <a:gd name="connsiteX2" fmla="*/ 2047433 w 2107231"/>
              <a:gd name="connsiteY2" fmla="*/ 551140 h 620431"/>
              <a:gd name="connsiteX3" fmla="*/ 2104756 w 2107231"/>
              <a:gd name="connsiteY3" fmla="*/ 612063 h 620431"/>
              <a:gd name="connsiteX4" fmla="*/ 2107231 w 2107231"/>
              <a:gd name="connsiteY4" fmla="*/ 620431 h 620431"/>
              <a:gd name="connsiteX5" fmla="*/ 0 w 2107231"/>
              <a:gd name="connsiteY5" fmla="*/ 620431 h 620431"/>
              <a:gd name="connsiteX6" fmla="*/ 2463 w 2107231"/>
              <a:gd name="connsiteY6" fmla="*/ 612112 h 620431"/>
              <a:gd name="connsiteX7" fmla="*/ 59823 w 2107231"/>
              <a:gd name="connsiteY7" fmla="*/ 551140 h 620431"/>
              <a:gd name="connsiteX8" fmla="*/ 972493 w 2107231"/>
              <a:gd name="connsiteY8" fmla="*/ 19678 h 620431"/>
              <a:gd name="connsiteX9" fmla="*/ 1053563 w 2107231"/>
              <a:gd name="connsiteY9" fmla="*/ 0 h 6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7231" h="620431">
                <a:moveTo>
                  <a:pt x="1053563" y="0"/>
                </a:moveTo>
                <a:cubicBezTo>
                  <a:pt x="1082906" y="0"/>
                  <a:pt x="1112249" y="6560"/>
                  <a:pt x="1134633" y="19678"/>
                </a:cubicBezTo>
                <a:lnTo>
                  <a:pt x="2047433" y="551140"/>
                </a:lnTo>
                <a:cubicBezTo>
                  <a:pt x="2069817" y="564193"/>
                  <a:pt x="2090084" y="586516"/>
                  <a:pt x="2104756" y="612063"/>
                </a:cubicBezTo>
                <a:lnTo>
                  <a:pt x="2107231" y="620431"/>
                </a:lnTo>
                <a:lnTo>
                  <a:pt x="0" y="620431"/>
                </a:lnTo>
                <a:lnTo>
                  <a:pt x="2463" y="612112"/>
                </a:lnTo>
                <a:cubicBezTo>
                  <a:pt x="17140" y="586581"/>
                  <a:pt x="37418" y="564258"/>
                  <a:pt x="59823" y="551140"/>
                </a:cubicBezTo>
                <a:lnTo>
                  <a:pt x="972493" y="19678"/>
                </a:lnTo>
                <a:cubicBezTo>
                  <a:pt x="994877" y="6560"/>
                  <a:pt x="1024220" y="0"/>
                  <a:pt x="1053563" y="0"/>
                </a:cubicBezTo>
                <a:close/>
              </a:path>
            </a:pathLst>
          </a:custGeom>
          <a:solidFill>
            <a:schemeClr val="accent6"/>
          </a:solidFill>
          <a:ln w="0" cap="flat">
            <a:noFill/>
            <a:prstDash val="solid"/>
            <a:miter/>
          </a:ln>
        </p:spPr>
        <p:txBody>
          <a:bodyPr wrap="square" rtlCol="0" anchor="ctr">
            <a:noAutofit/>
          </a:bodyPr>
          <a:lstStyle/>
          <a:p>
            <a:endParaRPr lang="en-US" dirty="0"/>
          </a:p>
        </p:txBody>
      </p:sp>
      <p:sp>
        <p:nvSpPr>
          <p:cNvPr id="14" name="Freeform 13">
            <a:extLst>
              <a:ext uri="{FF2B5EF4-FFF2-40B4-BE49-F238E27FC236}">
                <a16:creationId xmlns:a16="http://schemas.microsoft.com/office/drawing/2014/main" id="{64660417-0369-4E48-84D9-0730AE3800D1}"/>
              </a:ext>
            </a:extLst>
          </p:cNvPr>
          <p:cNvSpPr/>
          <p:nvPr userDrawn="1"/>
        </p:nvSpPr>
        <p:spPr>
          <a:xfrm>
            <a:off x="9981786"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accent6"/>
          </a:solidFill>
          <a:ln w="0" cap="flat">
            <a:noFill/>
            <a:prstDash val="solid"/>
            <a:miter/>
          </a:ln>
        </p:spPr>
        <p:txBody>
          <a:bodyPr rtlCol="0" anchor="ctr"/>
          <a:lstStyle/>
          <a:p>
            <a:endParaRPr lang="en-US" dirty="0"/>
          </a:p>
        </p:txBody>
      </p:sp>
      <p:sp>
        <p:nvSpPr>
          <p:cNvPr id="16" name="Freeform 15">
            <a:extLst>
              <a:ext uri="{FF2B5EF4-FFF2-40B4-BE49-F238E27FC236}">
                <a16:creationId xmlns:a16="http://schemas.microsoft.com/office/drawing/2014/main" id="{A455AE46-F9A2-D944-840C-540E91AC60C7}"/>
              </a:ext>
            </a:extLst>
          </p:cNvPr>
          <p:cNvSpPr/>
          <p:nvPr userDrawn="1"/>
        </p:nvSpPr>
        <p:spPr>
          <a:xfrm>
            <a:off x="7699533" y="424009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solidFill>
          <a:ln w="0" cap="flat">
            <a:noFill/>
            <a:prstDash val="solid"/>
            <a:miter/>
          </a:ln>
        </p:spPr>
        <p:txBody>
          <a:bodyPr rtlCol="0" anchor="ctr"/>
          <a:lstStyle/>
          <a:p>
            <a:endParaRPr lang="en-US" dirty="0"/>
          </a:p>
        </p:txBody>
      </p:sp>
      <p:sp>
        <p:nvSpPr>
          <p:cNvPr id="17" name="Freeform 16">
            <a:extLst>
              <a:ext uri="{FF2B5EF4-FFF2-40B4-BE49-F238E27FC236}">
                <a16:creationId xmlns:a16="http://schemas.microsoft.com/office/drawing/2014/main" id="{663E2FB3-1B84-374F-A5FB-D389346C6701}"/>
              </a:ext>
            </a:extLst>
          </p:cNvPr>
          <p:cNvSpPr/>
          <p:nvPr userDrawn="1"/>
        </p:nvSpPr>
        <p:spPr>
          <a:xfrm>
            <a:off x="7699533" y="237252"/>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solidFill>
          <a:ln w="0"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894AFEAA-F18F-F949-91CB-1F9BE7162647}"/>
              </a:ext>
            </a:extLst>
          </p:cNvPr>
          <p:cNvSpPr>
            <a:spLocks noGrp="1"/>
          </p:cNvSpPr>
          <p:nvPr>
            <p:ph type="ctrTitle" hasCustomPrompt="1"/>
          </p:nvPr>
        </p:nvSpPr>
        <p:spPr>
          <a:xfrm>
            <a:off x="425289" y="1621617"/>
            <a:ext cx="7150830" cy="2387600"/>
          </a:xfrm>
          <a:prstGeom prst="rect">
            <a:avLst/>
          </a:prstGeom>
        </p:spPr>
        <p:txBody>
          <a:bodyPr anchor="b">
            <a:normAutofit/>
          </a:bodyPr>
          <a:lstStyle>
            <a:lvl1pPr algn="l">
              <a:defRPr sz="4200" b="0" i="0">
                <a:solidFill>
                  <a:schemeClr val="tx1"/>
                </a:solidFill>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E5E90C0F-F45F-0446-8D8B-3A0D1B304E85}"/>
              </a:ext>
            </a:extLst>
          </p:cNvPr>
          <p:cNvSpPr>
            <a:spLocks noGrp="1"/>
          </p:cNvSpPr>
          <p:nvPr>
            <p:ph type="subTitle" idx="1"/>
          </p:nvPr>
        </p:nvSpPr>
        <p:spPr>
          <a:xfrm>
            <a:off x="425289" y="4101292"/>
            <a:ext cx="7150830" cy="677010"/>
          </a:xfrm>
          <a:prstGeom prst="rect">
            <a:avLst/>
          </a:prstGeo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22" name="Picture 21">
            <a:extLst>
              <a:ext uri="{FF2B5EF4-FFF2-40B4-BE49-F238E27FC236}">
                <a16:creationId xmlns:a16="http://schemas.microsoft.com/office/drawing/2014/main" id="{142502CD-81B4-5245-A358-423AA716A6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7165" y="5052850"/>
            <a:ext cx="4319715" cy="488103"/>
          </a:xfrm>
          <a:prstGeom prst="rect">
            <a:avLst/>
          </a:prstGeom>
        </p:spPr>
      </p:pic>
      <p:sp>
        <p:nvSpPr>
          <p:cNvPr id="23" name="Freeform 22">
            <a:extLst>
              <a:ext uri="{FF2B5EF4-FFF2-40B4-BE49-F238E27FC236}">
                <a16:creationId xmlns:a16="http://schemas.microsoft.com/office/drawing/2014/main" id="{4B0BF86A-7DAB-EE47-AE0B-5789B37E0C5C}"/>
              </a:ext>
            </a:extLst>
          </p:cNvPr>
          <p:cNvSpPr/>
          <p:nvPr userDrawn="1"/>
        </p:nvSpPr>
        <p:spPr>
          <a:xfrm>
            <a:off x="8841402" y="2234726"/>
            <a:ext cx="2149793" cy="2448556"/>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chemeClr val="bg1"/>
          </a:solidFill>
          <a:ln w="0" cap="flat">
            <a:noFill/>
            <a:prstDash val="solid"/>
            <a:miter/>
          </a:ln>
        </p:spPr>
        <p:txBody>
          <a:bodyPr rtlCol="0" anchor="ctr"/>
          <a:lstStyle/>
          <a:p>
            <a:endParaRPr lang="en-US" dirty="0"/>
          </a:p>
        </p:txBody>
      </p:sp>
    </p:spTree>
    <p:extLst>
      <p:ext uri="{BB962C8B-B14F-4D97-AF65-F5344CB8AC3E}">
        <p14:creationId xmlns:p14="http://schemas.microsoft.com/office/powerpoint/2010/main" val="39244296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7516422-48AF-E64C-B7A7-AD8F5C987E9C}"/>
              </a:ext>
            </a:extLst>
          </p:cNvPr>
          <p:cNvSpPr>
            <a:spLocks noGrp="1"/>
          </p:cNvSpPr>
          <p:nvPr>
            <p:ph type="pic" sz="quarter" idx="13"/>
          </p:nvPr>
        </p:nvSpPr>
        <p:spPr>
          <a:xfrm>
            <a:off x="0" y="0"/>
            <a:ext cx="12192000" cy="6858000"/>
          </a:xfrm>
          <a:prstGeom prst="rect">
            <a:avLst/>
          </a:prstGeom>
        </p:spPr>
        <p:txBody>
          <a:bodyPr anchor="t"/>
          <a:lstStyle>
            <a:lvl1pPr algn="l">
              <a:defRPr/>
            </a:lvl1pPr>
          </a:lstStyle>
          <a:p>
            <a:endParaRPr lang="en-US" dirty="0"/>
          </a:p>
        </p:txBody>
      </p:sp>
      <p:sp>
        <p:nvSpPr>
          <p:cNvPr id="2" name="Title 1">
            <a:extLst>
              <a:ext uri="{FF2B5EF4-FFF2-40B4-BE49-F238E27FC236}">
                <a16:creationId xmlns:a16="http://schemas.microsoft.com/office/drawing/2014/main" id="{894AFEAA-F18F-F949-91CB-1F9BE7162647}"/>
              </a:ext>
            </a:extLst>
          </p:cNvPr>
          <p:cNvSpPr>
            <a:spLocks noGrp="1"/>
          </p:cNvSpPr>
          <p:nvPr>
            <p:ph type="ctrTitle"/>
          </p:nvPr>
        </p:nvSpPr>
        <p:spPr>
          <a:xfrm>
            <a:off x="419391" y="2020680"/>
            <a:ext cx="4412182" cy="2387600"/>
          </a:xfrm>
          <a:prstGeom prst="rect">
            <a:avLst/>
          </a:prstGeom>
        </p:spPr>
        <p:txBody>
          <a:bodyPr anchor="b">
            <a:normAutofit/>
          </a:bodyPr>
          <a:lstStyle>
            <a:lvl1pPr algn="l">
              <a:defRPr sz="3600" b="0" i="0">
                <a:solidFill>
                  <a:schemeClr val="bg1"/>
                </a:solidFill>
                <a:latin typeface="Arial Black" panose="020B0604020202020204" pitchFamily="34" charset="0"/>
                <a:cs typeface="Arial Black" panose="020B0604020202020204" pitchFamily="34"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E5E90C0F-F45F-0446-8D8B-3A0D1B304E85}"/>
              </a:ext>
            </a:extLst>
          </p:cNvPr>
          <p:cNvSpPr>
            <a:spLocks noGrp="1"/>
          </p:cNvSpPr>
          <p:nvPr>
            <p:ph type="subTitle" idx="1" hasCustomPrompt="1"/>
          </p:nvPr>
        </p:nvSpPr>
        <p:spPr>
          <a:xfrm>
            <a:off x="419391" y="5003593"/>
            <a:ext cx="4412182" cy="826422"/>
          </a:xfrm>
          <a:prstGeom prst="rect">
            <a:avLst/>
          </a:prstGeo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resenters Title</a:t>
            </a:r>
            <a:endParaRPr lang="en-US"/>
          </a:p>
        </p:txBody>
      </p:sp>
      <p:sp>
        <p:nvSpPr>
          <p:cNvPr id="5" name="Text Placeholder 4">
            <a:extLst>
              <a:ext uri="{FF2B5EF4-FFF2-40B4-BE49-F238E27FC236}">
                <a16:creationId xmlns:a16="http://schemas.microsoft.com/office/drawing/2014/main" id="{27E46A2D-0B00-2E47-99FA-D2B4D0C71A8A}"/>
              </a:ext>
            </a:extLst>
          </p:cNvPr>
          <p:cNvSpPr>
            <a:spLocks noGrp="1"/>
          </p:cNvSpPr>
          <p:nvPr>
            <p:ph type="body" sz="quarter" idx="14" hasCustomPrompt="1"/>
          </p:nvPr>
        </p:nvSpPr>
        <p:spPr>
          <a:xfrm>
            <a:off x="419391" y="4530727"/>
            <a:ext cx="4412182" cy="491994"/>
          </a:xfrm>
        </p:spPr>
        <p:txBody>
          <a:bodyPr>
            <a:noAutofit/>
          </a:bodyPr>
          <a:lstStyle>
            <a:lvl1pPr marL="0" indent="0">
              <a:buNone/>
              <a:defRPr sz="2800" b="1">
                <a:solidFill>
                  <a:schemeClr val="bg1"/>
                </a:solidFill>
              </a:defRPr>
            </a:lvl1pPr>
            <a:lvl2pPr marL="457200" indent="0">
              <a:buNone/>
              <a:defRPr/>
            </a:lvl2pPr>
          </a:lstStyle>
          <a:p>
            <a:pPr lvl="0"/>
            <a:r>
              <a:rPr lang="en-GB"/>
              <a:t>Presenters Name</a:t>
            </a:r>
          </a:p>
        </p:txBody>
      </p:sp>
    </p:spTree>
    <p:extLst>
      <p:ext uri="{BB962C8B-B14F-4D97-AF65-F5344CB8AC3E}">
        <p14:creationId xmlns:p14="http://schemas.microsoft.com/office/powerpoint/2010/main" val="37563917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FEFE84-A11C-064B-94AA-8B509E826942}"/>
              </a:ext>
            </a:extLst>
          </p:cNvPr>
          <p:cNvSpPr>
            <a:spLocks noGrp="1"/>
          </p:cNvSpPr>
          <p:nvPr>
            <p:ph idx="1"/>
          </p:nvPr>
        </p:nvSpPr>
        <p:spPr>
          <a:xfrm>
            <a:off x="390222" y="1092727"/>
            <a:ext cx="11491154" cy="5417611"/>
          </a:xfrm>
          <a:prstGeom prst="rect">
            <a:avLst/>
          </a:prstGeom>
        </p:spPr>
        <p:txBody>
          <a:bodyPr/>
          <a:lstStyle>
            <a:lvl1pPr marL="357188" indent="-357188">
              <a:lnSpc>
                <a:spcPct val="100000"/>
              </a:lnSpc>
              <a:spcBef>
                <a:spcPts val="300"/>
              </a:spcBef>
              <a:spcAft>
                <a:spcPts val="300"/>
              </a:spcAft>
              <a:buFont typeface="Apple Symbols" panose="02000000000000000000" pitchFamily="2" charset="-79"/>
              <a:buChar char="⎔"/>
              <a:tabLst/>
              <a:defRPr b="0" i="0">
                <a:latin typeface="Calibri" panose="020F0502020204030204" pitchFamily="34" charset="0"/>
                <a:cs typeface="Calibri" panose="020F0502020204030204" pitchFamily="34" charset="0"/>
              </a:defRPr>
            </a:lvl1pPr>
            <a:lvl2pPr>
              <a:lnSpc>
                <a:spcPct val="100000"/>
              </a:lnSpc>
              <a:spcBef>
                <a:spcPts val="300"/>
              </a:spcBef>
              <a:spcAft>
                <a:spcPts val="300"/>
              </a:spcAft>
              <a:defRPr b="0" i="0">
                <a:latin typeface="Calibri" panose="020F0502020204030204" pitchFamily="34" charset="0"/>
                <a:cs typeface="Calibri" panose="020F0502020204030204" pitchFamily="34" charset="0"/>
              </a:defRPr>
            </a:lvl2pPr>
            <a:lvl3pPr marL="1143000" indent="-228600">
              <a:lnSpc>
                <a:spcPct val="100000"/>
              </a:lnSpc>
              <a:spcBef>
                <a:spcPts val="300"/>
              </a:spcBef>
              <a:spcAft>
                <a:spcPts val="300"/>
              </a:spcAft>
              <a:buFont typeface="Cambria Math" panose="02040503050406030204" pitchFamily="18" charset="0"/>
              <a:buChar char="⎯"/>
              <a:defRPr b="0" i="0">
                <a:latin typeface="Calibri" panose="020F0502020204030204" pitchFamily="34" charset="0"/>
                <a:cs typeface="Calibri" panose="020F0502020204030204" pitchFamily="34" charset="0"/>
              </a:defRPr>
            </a:lvl3pPr>
            <a:lvl4pPr>
              <a:lnSpc>
                <a:spcPct val="100000"/>
              </a:lnSpc>
              <a:spcBef>
                <a:spcPts val="300"/>
              </a:spcBef>
              <a:spcAft>
                <a:spcPts val="300"/>
              </a:spcAft>
              <a:defRPr b="0" i="0">
                <a:latin typeface="Calibri" panose="020F0502020204030204" pitchFamily="34" charset="0"/>
                <a:cs typeface="Calibri" panose="020F0502020204030204" pitchFamily="34" charset="0"/>
              </a:defRPr>
            </a:lvl4pPr>
            <a:lvl5pPr>
              <a:lnSpc>
                <a:spcPct val="100000"/>
              </a:lnSpc>
              <a:spcBef>
                <a:spcPts val="300"/>
              </a:spcBef>
              <a:spcAft>
                <a:spcPts val="300"/>
              </a:spcAft>
              <a:defRPr b="0" i="0">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1">
            <a:extLst>
              <a:ext uri="{FF2B5EF4-FFF2-40B4-BE49-F238E27FC236}">
                <a16:creationId xmlns:a16="http://schemas.microsoft.com/office/drawing/2014/main" id="{BAD12A5C-A666-EC41-882C-49EB5298B5BC}"/>
              </a:ext>
            </a:extLst>
          </p:cNvPr>
          <p:cNvSpPr>
            <a:spLocks noGrp="1"/>
          </p:cNvSpPr>
          <p:nvPr>
            <p:ph type="title" hasCustomPrompt="1"/>
          </p:nvPr>
        </p:nvSpPr>
        <p:spPr>
          <a:xfrm>
            <a:off x="390222" y="125506"/>
            <a:ext cx="11491154" cy="657058"/>
          </a:xfrm>
          <a:prstGeom prst="rect">
            <a:avLst/>
          </a:prstGeom>
        </p:spPr>
        <p:txBody>
          <a:bodyPr anchor="ctr" anchorCtr="0">
            <a:normAutofit/>
          </a:bodyPr>
          <a:lstStyle>
            <a:lvl1pPr>
              <a:defRPr sz="1800" b="0" i="0">
                <a:solidFill>
                  <a:schemeClr val="accent2"/>
                </a:solidFill>
                <a:latin typeface="Arial Black" panose="020B0604020202020204" pitchFamily="34" charset="0"/>
                <a:cs typeface="Arial Black"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352110231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A71B8A8F-4590-7A4F-AD85-45CD37187E1C}"/>
              </a:ext>
            </a:extLst>
          </p:cNvPr>
          <p:cNvSpPr/>
          <p:nvPr userDrawn="1"/>
        </p:nvSpPr>
        <p:spPr>
          <a:xfrm>
            <a:off x="9659851" y="-76198"/>
            <a:ext cx="2608353" cy="738130"/>
          </a:xfrm>
          <a:custGeom>
            <a:avLst/>
            <a:gdLst>
              <a:gd name="connsiteX0" fmla="*/ 4211 w 2608353"/>
              <a:gd name="connsiteY0" fmla="*/ 0 h 738130"/>
              <a:gd name="connsiteX1" fmla="*/ 2608353 w 2608353"/>
              <a:gd name="connsiteY1" fmla="*/ 0 h 738130"/>
              <a:gd name="connsiteX2" fmla="*/ 2608353 w 2608353"/>
              <a:gd name="connsiteY2" fmla="*/ 738130 h 738130"/>
              <a:gd name="connsiteX3" fmla="*/ 1174734 w 2608353"/>
              <a:gd name="connsiteY3" fmla="*/ 736320 h 738130"/>
              <a:gd name="connsiteX4" fmla="*/ 463103 w 2608353"/>
              <a:gd name="connsiteY4" fmla="*/ 736320 h 738130"/>
              <a:gd name="connsiteX5" fmla="*/ 368657 w 2608353"/>
              <a:gd name="connsiteY5" fmla="*/ 682062 h 738130"/>
              <a:gd name="connsiteX6" fmla="*/ 13160 w 2608353"/>
              <a:gd name="connsiteY6" fmla="*/ 71579 h 738130"/>
              <a:gd name="connsiteX7" fmla="*/ 0 w 2608353"/>
              <a:gd name="connsiteY7" fmla="*/ 17351 h 7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8353" h="738130">
                <a:moveTo>
                  <a:pt x="4211" y="0"/>
                </a:moveTo>
                <a:lnTo>
                  <a:pt x="2608353" y="0"/>
                </a:lnTo>
                <a:lnTo>
                  <a:pt x="2608353" y="738130"/>
                </a:lnTo>
                <a:lnTo>
                  <a:pt x="1174734" y="736320"/>
                </a:lnTo>
                <a:lnTo>
                  <a:pt x="463103" y="736320"/>
                </a:lnTo>
                <a:cubicBezTo>
                  <a:pt x="428384" y="736320"/>
                  <a:pt x="386205" y="712037"/>
                  <a:pt x="368657" y="682062"/>
                </a:cubicBezTo>
                <a:lnTo>
                  <a:pt x="13160" y="71579"/>
                </a:lnTo>
                <a:cubicBezTo>
                  <a:pt x="4387" y="56607"/>
                  <a:pt x="0" y="36979"/>
                  <a:pt x="0" y="17351"/>
                </a:cubicBezTo>
                <a:close/>
              </a:path>
            </a:pathLst>
          </a:cu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Slide Number Placeholder 5">
            <a:extLst>
              <a:ext uri="{FF2B5EF4-FFF2-40B4-BE49-F238E27FC236}">
                <a16:creationId xmlns:a16="http://schemas.microsoft.com/office/drawing/2014/main" id="{77D4EC1A-694B-8546-B59D-35A065C82941}"/>
              </a:ext>
            </a:extLst>
          </p:cNvPr>
          <p:cNvSpPr txBox="1">
            <a:spLocks/>
          </p:cNvSpPr>
          <p:nvPr userDrawn="1"/>
        </p:nvSpPr>
        <p:spPr>
          <a:xfrm>
            <a:off x="11348248" y="6495906"/>
            <a:ext cx="843751" cy="365125"/>
          </a:xfrm>
          <a:prstGeom prst="rect">
            <a:avLst/>
          </a:prstGeom>
        </p:spPr>
        <p:txBody>
          <a:bodyPr anchor="b"/>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AF2BE45-A2AD-E248-BDA0-0FC8D71A53A9}" type="slidenum">
              <a:rPr lang="en-US" smtClean="0"/>
              <a:pPr algn="r"/>
              <a:t>‹#›</a:t>
            </a:fld>
            <a:endParaRPr lang="en-US" dirty="0"/>
          </a:p>
        </p:txBody>
      </p:sp>
      <p:sp>
        <p:nvSpPr>
          <p:cNvPr id="3" name="Text Placeholder 2">
            <a:extLst>
              <a:ext uri="{FF2B5EF4-FFF2-40B4-BE49-F238E27FC236}">
                <a16:creationId xmlns:a16="http://schemas.microsoft.com/office/drawing/2014/main" id="{D57ECF4A-F71F-7544-85C7-3FAC4D809B87}"/>
              </a:ext>
            </a:extLst>
          </p:cNvPr>
          <p:cNvSpPr>
            <a:spLocks noGrp="1"/>
          </p:cNvSpPr>
          <p:nvPr>
            <p:ph type="body" idx="1"/>
          </p:nvPr>
        </p:nvSpPr>
        <p:spPr>
          <a:xfrm>
            <a:off x="390222" y="1092726"/>
            <a:ext cx="11491154" cy="5403179"/>
          </a:xfrm>
          <a:prstGeom prst="rect">
            <a:avLst/>
          </a:prstGeom>
        </p:spPr>
        <p:txBody>
          <a:bodyPr vert="horz" lIns="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Picture 9" descr="IPL_logo_tagline_2018.jpg">
            <a:extLst>
              <a:ext uri="{FF2B5EF4-FFF2-40B4-BE49-F238E27FC236}">
                <a16:creationId xmlns:a16="http://schemas.microsoft.com/office/drawing/2014/main" id="{8FFB815F-1618-0F42-A9D9-27D809F2E51B}"/>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0206587" y="132489"/>
            <a:ext cx="1756377" cy="374246"/>
          </a:xfrm>
          <a:prstGeom prst="rect">
            <a:avLst/>
          </a:prstGeom>
        </p:spPr>
      </p:pic>
      <p:sp>
        <p:nvSpPr>
          <p:cNvPr id="7" name="Freeform 6">
            <a:extLst>
              <a:ext uri="{FF2B5EF4-FFF2-40B4-BE49-F238E27FC236}">
                <a16:creationId xmlns:a16="http://schemas.microsoft.com/office/drawing/2014/main" id="{F9DCC750-7BCA-BD4E-9E9B-D780ABF2466A}"/>
              </a:ext>
            </a:extLst>
          </p:cNvPr>
          <p:cNvSpPr/>
          <p:nvPr userDrawn="1"/>
        </p:nvSpPr>
        <p:spPr>
          <a:xfrm>
            <a:off x="-571722" y="-63467"/>
            <a:ext cx="882346" cy="1004968"/>
          </a:xfrm>
          <a:custGeom>
            <a:avLst/>
            <a:gdLst>
              <a:gd name="connsiteX0" fmla="*/ 4848311 w 5038488"/>
              <a:gd name="connsiteY0" fmla="*/ 4446285 h 5737945"/>
              <a:gd name="connsiteX1" fmla="*/ 5038315 w 5038488"/>
              <a:gd name="connsiteY1" fmla="*/ 4115510 h 5737945"/>
              <a:gd name="connsiteX2" fmla="*/ 5038315 w 5038488"/>
              <a:gd name="connsiteY2" fmla="*/ 1622400 h 5737945"/>
              <a:gd name="connsiteX3" fmla="*/ 4848311 w 5038488"/>
              <a:gd name="connsiteY3" fmla="*/ 1291522 h 5737945"/>
              <a:gd name="connsiteX4" fmla="*/ 2708972 w 5038488"/>
              <a:gd name="connsiteY4" fmla="*/ 46094 h 5737945"/>
              <a:gd name="connsiteX5" fmla="*/ 2328964 w 5038488"/>
              <a:gd name="connsiteY5" fmla="*/ 46094 h 5737945"/>
              <a:gd name="connsiteX6" fmla="*/ 189932 w 5038488"/>
              <a:gd name="connsiteY6" fmla="*/ 1291522 h 5737945"/>
              <a:gd name="connsiteX7" fmla="*/ -174 w 5038488"/>
              <a:gd name="connsiteY7" fmla="*/ 1622400 h 5737945"/>
              <a:gd name="connsiteX8" fmla="*/ -174 w 5038488"/>
              <a:gd name="connsiteY8" fmla="*/ 4115510 h 5737945"/>
              <a:gd name="connsiteX9" fmla="*/ 189932 w 5038488"/>
              <a:gd name="connsiteY9" fmla="*/ 4446285 h 5737945"/>
              <a:gd name="connsiteX10" fmla="*/ 2328964 w 5038488"/>
              <a:gd name="connsiteY10" fmla="*/ 5691816 h 5737945"/>
              <a:gd name="connsiteX11" fmla="*/ 2708972 w 5038488"/>
              <a:gd name="connsiteY11" fmla="*/ 5691816 h 573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8488" h="5737945">
                <a:moveTo>
                  <a:pt x="4848311" y="4446285"/>
                </a:moveTo>
                <a:cubicBezTo>
                  <a:pt x="4953232" y="4384803"/>
                  <a:pt x="5038315" y="4237143"/>
                  <a:pt x="5038315" y="4115510"/>
                </a:cubicBezTo>
                <a:lnTo>
                  <a:pt x="5038315" y="1622400"/>
                </a:lnTo>
                <a:cubicBezTo>
                  <a:pt x="5038315" y="1500767"/>
                  <a:pt x="4953232" y="1352697"/>
                  <a:pt x="4848311" y="1291522"/>
                </a:cubicBezTo>
                <a:lnTo>
                  <a:pt x="2708972" y="46094"/>
                </a:lnTo>
                <a:cubicBezTo>
                  <a:pt x="2604051" y="-15388"/>
                  <a:pt x="2433885" y="-15388"/>
                  <a:pt x="2328964" y="46094"/>
                </a:cubicBezTo>
                <a:lnTo>
                  <a:pt x="189932" y="1291522"/>
                </a:lnTo>
                <a:cubicBezTo>
                  <a:pt x="84908" y="1353004"/>
                  <a:pt x="-174" y="1500767"/>
                  <a:pt x="-174" y="1622400"/>
                </a:cubicBezTo>
                <a:lnTo>
                  <a:pt x="-174" y="4115510"/>
                </a:lnTo>
                <a:cubicBezTo>
                  <a:pt x="-174" y="4237143"/>
                  <a:pt x="84908" y="4385213"/>
                  <a:pt x="189932" y="4446285"/>
                </a:cubicBezTo>
                <a:lnTo>
                  <a:pt x="2328964" y="5691816"/>
                </a:lnTo>
                <a:cubicBezTo>
                  <a:pt x="2433885" y="5753298"/>
                  <a:pt x="2604051" y="5753298"/>
                  <a:pt x="2708972" y="5691816"/>
                </a:cubicBezTo>
                <a:close/>
              </a:path>
            </a:pathLst>
          </a:custGeom>
          <a:solidFill>
            <a:srgbClr val="82BDC3">
              <a:alpha val="50196"/>
            </a:srgbClr>
          </a:solidFill>
          <a:ln w="0" cap="flat">
            <a:noFill/>
            <a:prstDash val="solid"/>
            <a:miter/>
          </a:ln>
        </p:spPr>
        <p:txBody>
          <a:bodyPr rtlCol="0" anchor="ctr"/>
          <a:lstStyle/>
          <a:p>
            <a:endParaRPr lang="en-US" dirty="0"/>
          </a:p>
        </p:txBody>
      </p:sp>
      <p:sp>
        <p:nvSpPr>
          <p:cNvPr id="4" name="Title Placeholder 3">
            <a:extLst>
              <a:ext uri="{FF2B5EF4-FFF2-40B4-BE49-F238E27FC236}">
                <a16:creationId xmlns:a16="http://schemas.microsoft.com/office/drawing/2014/main" id="{C00E381E-6928-AA46-9E77-8CA3A7F2FA77}"/>
              </a:ext>
            </a:extLst>
          </p:cNvPr>
          <p:cNvSpPr>
            <a:spLocks noGrp="1"/>
          </p:cNvSpPr>
          <p:nvPr>
            <p:ph type="title"/>
          </p:nvPr>
        </p:nvSpPr>
        <p:spPr>
          <a:xfrm>
            <a:off x="390222" y="132489"/>
            <a:ext cx="10515600" cy="960237"/>
          </a:xfrm>
          <a:prstGeom prst="rect">
            <a:avLst/>
          </a:prstGeom>
        </p:spPr>
        <p:txBody>
          <a:bodyPr vert="horz" lIns="91440" tIns="45720" rIns="91440" bIns="45720" rtlCol="0" anchor="ctr">
            <a:normAutofit/>
          </a:bodyPr>
          <a:lstStyle/>
          <a:p>
            <a:r>
              <a:rPr lang="en-GB" dirty="0"/>
              <a:t>Click to edit Master title style</a:t>
            </a:r>
            <a:endParaRPr lang="en-US" dirty="0"/>
          </a:p>
        </p:txBody>
      </p:sp>
    </p:spTree>
    <p:extLst>
      <p:ext uri="{BB962C8B-B14F-4D97-AF65-F5344CB8AC3E}">
        <p14:creationId xmlns:p14="http://schemas.microsoft.com/office/powerpoint/2010/main" val="25723617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xStyles>
    <p:titleStyle>
      <a:lvl1pPr algn="l" defTabSz="914400" rtl="0" eaLnBrk="1" latinLnBrk="0" hangingPunct="1">
        <a:lnSpc>
          <a:spcPct val="90000"/>
        </a:lnSpc>
        <a:spcBef>
          <a:spcPct val="0"/>
        </a:spcBef>
        <a:buNone/>
        <a:defRPr sz="1800" b="0" i="0" kern="1200">
          <a:solidFill>
            <a:schemeClr val="accent2"/>
          </a:solidFill>
          <a:latin typeface="Arial Black" panose="020B0604020202020204" pitchFamily="34" charset="0"/>
          <a:ea typeface="+mj-ea"/>
          <a:cs typeface="Arial Black" panose="020B0604020202020204" pitchFamily="34" charset="0"/>
        </a:defRPr>
      </a:lvl1pPr>
    </p:titleStyle>
    <p:bodyStyle>
      <a:lvl1pPr marL="358775" indent="-358775" algn="l" defTabSz="914400" rtl="0" eaLnBrk="1" latinLnBrk="0" hangingPunct="1">
        <a:lnSpc>
          <a:spcPct val="100000"/>
        </a:lnSpc>
        <a:spcBef>
          <a:spcPts val="300"/>
        </a:spcBef>
        <a:spcAft>
          <a:spcPts val="300"/>
        </a:spcAft>
        <a:buFont typeface="Apple Symbols" panose="02000000000000000000" pitchFamily="2" charset="-79"/>
        <a:buChar char="⎔"/>
        <a:tabLst/>
        <a:defRPr sz="2000" kern="1200">
          <a:solidFill>
            <a:schemeClr val="tx1"/>
          </a:solidFill>
          <a:latin typeface="+mn-lt"/>
          <a:ea typeface="+mn-ea"/>
          <a:cs typeface="+mn-cs"/>
        </a:defRPr>
      </a:lvl1pPr>
      <a:lvl2pPr marL="577850" indent="-230188" algn="l" defTabSz="914400" rtl="0" eaLnBrk="1" latinLnBrk="0" hangingPunct="1">
        <a:lnSpc>
          <a:spcPct val="100000"/>
        </a:lnSpc>
        <a:spcBef>
          <a:spcPts val="300"/>
        </a:spcBef>
        <a:spcAft>
          <a:spcPts val="300"/>
        </a:spcAft>
        <a:buFont typeface="Arial" panose="020B0604020202020204" pitchFamily="34" charset="0"/>
        <a:buChar char="•"/>
        <a:tabLst/>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Font typeface="Cambria Math" panose="02040503050406030204" pitchFamily="18"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4">
          <p15:clr>
            <a:srgbClr val="F26B43"/>
          </p15:clr>
        </p15:guide>
        <p15:guide id="2" orient="horz" pos="686">
          <p15:clr>
            <a:srgbClr val="F26B43"/>
          </p15:clr>
        </p15:guide>
        <p15:guide id="3" orient="horz" pos="410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919C8-ECEB-B206-8B4B-882C18409553}"/>
              </a:ext>
            </a:extLst>
          </p:cNvPr>
          <p:cNvSpPr>
            <a:spLocks noGrp="1"/>
          </p:cNvSpPr>
          <p:nvPr>
            <p:ph type="ctrTitle"/>
          </p:nvPr>
        </p:nvSpPr>
        <p:spPr>
          <a:xfrm>
            <a:off x="324705" y="151002"/>
            <a:ext cx="7150830" cy="3741490"/>
          </a:xfrm>
        </p:spPr>
        <p:txBody>
          <a:bodyPr>
            <a:normAutofit/>
          </a:bodyPr>
          <a:lstStyle/>
          <a:p>
            <a:r>
              <a:rPr lang="en-AU" dirty="0"/>
              <a:t>Preventing Serious Incidents</a:t>
            </a:r>
            <a:br>
              <a:rPr lang="en-AU" dirty="0"/>
            </a:br>
            <a:br>
              <a:rPr lang="en-AU" dirty="0"/>
            </a:br>
            <a:endParaRPr lang="en-US" dirty="0"/>
          </a:p>
        </p:txBody>
      </p:sp>
      <p:sp>
        <p:nvSpPr>
          <p:cNvPr id="3" name="Subtitle 2">
            <a:extLst>
              <a:ext uri="{FF2B5EF4-FFF2-40B4-BE49-F238E27FC236}">
                <a16:creationId xmlns:a16="http://schemas.microsoft.com/office/drawing/2014/main" id="{306ED938-3444-E22C-A560-D32AC9E063F7}"/>
              </a:ext>
            </a:extLst>
          </p:cNvPr>
          <p:cNvSpPr>
            <a:spLocks noGrp="1"/>
          </p:cNvSpPr>
          <p:nvPr>
            <p:ph type="subTitle" idx="1"/>
          </p:nvPr>
        </p:nvSpPr>
        <p:spPr>
          <a:xfrm>
            <a:off x="324705" y="3050490"/>
            <a:ext cx="7150830" cy="1954804"/>
          </a:xfrm>
        </p:spPr>
        <p:txBody>
          <a:bodyPr>
            <a:normAutofit/>
          </a:bodyPr>
          <a:lstStyle/>
          <a:p>
            <a:r>
              <a:rPr lang="en-AU" sz="1400" b="1" dirty="0">
                <a:effectLst/>
                <a:latin typeface="Arial" panose="020B0604020202020204" pitchFamily="34" charset="0"/>
                <a:ea typeface="Calibri" panose="020F0502020204030204" pitchFamily="34" charset="0"/>
              </a:rPr>
              <a:t>How an increasing focus on Significant Events is strengthening learning culture and embedding a process of learning, sharing, and fixing for good</a:t>
            </a:r>
            <a:r>
              <a:rPr lang="en-AU" sz="1400" dirty="0">
                <a:effectLst/>
              </a:rPr>
              <a:t> </a:t>
            </a:r>
            <a:endParaRPr lang="en-AU" sz="1400" dirty="0"/>
          </a:p>
          <a:p>
            <a:endParaRPr lang="en-US" dirty="0"/>
          </a:p>
          <a:p>
            <a:r>
              <a:rPr lang="en-US" sz="2000" dirty="0"/>
              <a:t>Stephenie De Nichilo, Chief HSE &amp; Operations Excellence Officer</a:t>
            </a:r>
          </a:p>
        </p:txBody>
      </p:sp>
    </p:spTree>
    <p:extLst>
      <p:ext uri="{BB962C8B-B14F-4D97-AF65-F5344CB8AC3E}">
        <p14:creationId xmlns:p14="http://schemas.microsoft.com/office/powerpoint/2010/main" val="2589624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8D835743-27F8-42A5-AF66-407F3F779DEE}"/>
              </a:ext>
            </a:extLst>
          </p:cNvPr>
          <p:cNvSpPr>
            <a:spLocks noGrp="1"/>
          </p:cNvSpPr>
          <p:nvPr>
            <p:ph idx="1"/>
          </p:nvPr>
        </p:nvSpPr>
        <p:spPr/>
        <p:txBody>
          <a:bodyPr>
            <a:normAutofit/>
          </a:bodyPr>
          <a:lstStyle/>
          <a:p>
            <a:endParaRPr lang="en-AU" sz="4000" dirty="0"/>
          </a:p>
        </p:txBody>
      </p:sp>
      <p:sp>
        <p:nvSpPr>
          <p:cNvPr id="2" name="Text Placeholder 1">
            <a:extLst>
              <a:ext uri="{FF2B5EF4-FFF2-40B4-BE49-F238E27FC236}">
                <a16:creationId xmlns:a16="http://schemas.microsoft.com/office/drawing/2014/main" id="{BAEC4022-0249-9DFA-2E8D-A806441ED2AD}"/>
              </a:ext>
            </a:extLst>
          </p:cNvPr>
          <p:cNvSpPr>
            <a:spLocks noGrp="1"/>
          </p:cNvSpPr>
          <p:nvPr>
            <p:ph type="body" sz="quarter" idx="10"/>
          </p:nvPr>
        </p:nvSpPr>
        <p:spPr/>
        <p:txBody>
          <a:bodyPr/>
          <a:lstStyle/>
          <a:p>
            <a:r>
              <a:rPr lang="en-AU" dirty="0"/>
              <a:t>Zero Harm Strategic Themes driving improvement initiatives</a:t>
            </a:r>
            <a:endParaRPr lang="en-US" dirty="0"/>
          </a:p>
        </p:txBody>
      </p:sp>
      <p:sp>
        <p:nvSpPr>
          <p:cNvPr id="9" name="Title 8">
            <a:extLst>
              <a:ext uri="{FF2B5EF4-FFF2-40B4-BE49-F238E27FC236}">
                <a16:creationId xmlns:a16="http://schemas.microsoft.com/office/drawing/2014/main" id="{A1DB267A-2DCF-46F1-912C-AED274F3CAED}"/>
              </a:ext>
            </a:extLst>
          </p:cNvPr>
          <p:cNvSpPr>
            <a:spLocks noGrp="1"/>
          </p:cNvSpPr>
          <p:nvPr>
            <p:ph type="title"/>
          </p:nvPr>
        </p:nvSpPr>
        <p:spPr/>
        <p:txBody>
          <a:bodyPr/>
          <a:lstStyle/>
          <a:p>
            <a:r>
              <a:rPr lang="en-AU" dirty="0"/>
              <a:t>IPL Group Safety Strategy</a:t>
            </a:r>
          </a:p>
        </p:txBody>
      </p:sp>
      <p:pic>
        <p:nvPicPr>
          <p:cNvPr id="5" name="Picture 4" descr="Graphical user interface&#10;&#10;Description automatically generated">
            <a:extLst>
              <a:ext uri="{FF2B5EF4-FFF2-40B4-BE49-F238E27FC236}">
                <a16:creationId xmlns:a16="http://schemas.microsoft.com/office/drawing/2014/main" id="{B86AF9DF-7C44-473D-84D3-A4BFF369D7D5}"/>
              </a:ext>
            </a:extLst>
          </p:cNvPr>
          <p:cNvPicPr>
            <a:picLocks noChangeAspect="1"/>
          </p:cNvPicPr>
          <p:nvPr/>
        </p:nvPicPr>
        <p:blipFill>
          <a:blip r:embed="rId2"/>
          <a:stretch>
            <a:fillRect/>
          </a:stretch>
        </p:blipFill>
        <p:spPr>
          <a:xfrm>
            <a:off x="1124831" y="3934390"/>
            <a:ext cx="9942336" cy="2144663"/>
          </a:xfrm>
          <a:prstGeom prst="rect">
            <a:avLst/>
          </a:prstGeom>
        </p:spPr>
      </p:pic>
      <p:pic>
        <p:nvPicPr>
          <p:cNvPr id="8" name="Picture 7">
            <a:extLst>
              <a:ext uri="{FF2B5EF4-FFF2-40B4-BE49-F238E27FC236}">
                <a16:creationId xmlns:a16="http://schemas.microsoft.com/office/drawing/2014/main" id="{7773C474-302C-2BF9-68BD-7324FBE834AC}"/>
              </a:ext>
            </a:extLst>
          </p:cNvPr>
          <p:cNvPicPr>
            <a:picLocks noChangeAspect="1"/>
          </p:cNvPicPr>
          <p:nvPr/>
        </p:nvPicPr>
        <p:blipFill>
          <a:blip r:embed="rId3"/>
          <a:stretch>
            <a:fillRect/>
          </a:stretch>
        </p:blipFill>
        <p:spPr>
          <a:xfrm>
            <a:off x="5237352" y="1630450"/>
            <a:ext cx="1717295" cy="1717295"/>
          </a:xfrm>
          <a:prstGeom prst="rect">
            <a:avLst/>
          </a:prstGeom>
        </p:spPr>
      </p:pic>
    </p:spTree>
    <p:extLst>
      <p:ext uri="{BB962C8B-B14F-4D97-AF65-F5344CB8AC3E}">
        <p14:creationId xmlns:p14="http://schemas.microsoft.com/office/powerpoint/2010/main" val="4196651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38F945-3211-AA21-1472-547DBE4572E6}"/>
              </a:ext>
            </a:extLst>
          </p:cNvPr>
          <p:cNvSpPr>
            <a:spLocks noGrp="1"/>
          </p:cNvSpPr>
          <p:nvPr>
            <p:ph idx="1"/>
          </p:nvPr>
        </p:nvSpPr>
        <p:spPr>
          <a:xfrm>
            <a:off x="390222" y="1603808"/>
            <a:ext cx="7043013" cy="5128686"/>
          </a:xfrm>
        </p:spPr>
        <p:txBody>
          <a:bodyPr>
            <a:noAutofit/>
          </a:bodyPr>
          <a:lstStyle/>
          <a:p>
            <a:r>
              <a:rPr lang="en-AU" sz="3200" dirty="0"/>
              <a:t>Actual AND Potential Consequences</a:t>
            </a:r>
          </a:p>
          <a:p>
            <a:endParaRPr lang="en-AU" dirty="0"/>
          </a:p>
          <a:p>
            <a:r>
              <a:rPr lang="en-AU" sz="3200" dirty="0"/>
              <a:t>Health &amp; Safety – severe injury, fatality or multiple fatality</a:t>
            </a:r>
          </a:p>
          <a:p>
            <a:endParaRPr lang="en-AU" dirty="0"/>
          </a:p>
          <a:p>
            <a:r>
              <a:rPr lang="en-AU" sz="3200" dirty="0"/>
              <a:t>Process Safety – Tier 1 or 2 LOCI or fire/explosion</a:t>
            </a:r>
          </a:p>
          <a:p>
            <a:endParaRPr lang="en-AU" dirty="0"/>
          </a:p>
          <a:p>
            <a:r>
              <a:rPr lang="en-AU" sz="3200" dirty="0"/>
              <a:t>Environment – long term impacts, major event or repeat non-compliance</a:t>
            </a:r>
            <a:endParaRPr lang="en-US" sz="3200" dirty="0"/>
          </a:p>
        </p:txBody>
      </p:sp>
      <p:sp>
        <p:nvSpPr>
          <p:cNvPr id="4" name="Text Placeholder 3">
            <a:extLst>
              <a:ext uri="{FF2B5EF4-FFF2-40B4-BE49-F238E27FC236}">
                <a16:creationId xmlns:a16="http://schemas.microsoft.com/office/drawing/2014/main" id="{B79C6223-7731-8BFC-4DF3-D91BDA1A7042}"/>
              </a:ext>
            </a:extLst>
          </p:cNvPr>
          <p:cNvSpPr>
            <a:spLocks noGrp="1"/>
          </p:cNvSpPr>
          <p:nvPr>
            <p:ph type="body" sz="quarter" idx="10"/>
          </p:nvPr>
        </p:nvSpPr>
        <p:spPr/>
        <p:txBody>
          <a:bodyPr/>
          <a:lstStyle/>
          <a:p>
            <a:r>
              <a:rPr lang="en-AU" dirty="0"/>
              <a:t>Based on the principle of Exxon Mobil’s “Mining the Diamond”</a:t>
            </a:r>
            <a:endParaRPr lang="en-US" dirty="0"/>
          </a:p>
        </p:txBody>
      </p:sp>
      <p:sp>
        <p:nvSpPr>
          <p:cNvPr id="3" name="Title 2">
            <a:extLst>
              <a:ext uri="{FF2B5EF4-FFF2-40B4-BE49-F238E27FC236}">
                <a16:creationId xmlns:a16="http://schemas.microsoft.com/office/drawing/2014/main" id="{B9C2A7F1-0D72-28AB-1D6B-53A2D7DEF30C}"/>
              </a:ext>
            </a:extLst>
          </p:cNvPr>
          <p:cNvSpPr>
            <a:spLocks noGrp="1"/>
          </p:cNvSpPr>
          <p:nvPr>
            <p:ph type="title"/>
          </p:nvPr>
        </p:nvSpPr>
        <p:spPr/>
        <p:txBody>
          <a:bodyPr/>
          <a:lstStyle/>
          <a:p>
            <a:r>
              <a:rPr lang="en-AU" dirty="0"/>
              <a:t>Significant Event Definition </a:t>
            </a:r>
            <a:endParaRPr lang="en-US" dirty="0"/>
          </a:p>
        </p:txBody>
      </p:sp>
      <p:pic>
        <p:nvPicPr>
          <p:cNvPr id="7" name="Picture 6" descr="Diagram&#10;&#10;Description automatically generated">
            <a:extLst>
              <a:ext uri="{FF2B5EF4-FFF2-40B4-BE49-F238E27FC236}">
                <a16:creationId xmlns:a16="http://schemas.microsoft.com/office/drawing/2014/main" id="{5C6FF385-5478-D89A-9AFA-7AFE452F1C9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17483" y="2102109"/>
            <a:ext cx="3884295" cy="3505200"/>
          </a:xfrm>
          <a:prstGeom prst="rect">
            <a:avLst/>
          </a:prstGeom>
          <a:noFill/>
          <a:ln>
            <a:solidFill>
              <a:schemeClr val="tx1"/>
            </a:solidFill>
          </a:ln>
        </p:spPr>
      </p:pic>
    </p:spTree>
    <p:extLst>
      <p:ext uri="{BB962C8B-B14F-4D97-AF65-F5344CB8AC3E}">
        <p14:creationId xmlns:p14="http://schemas.microsoft.com/office/powerpoint/2010/main" val="2168849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74B88FC-3A20-59DB-81AA-E3E71D5F6E60}"/>
              </a:ext>
            </a:extLst>
          </p:cNvPr>
          <p:cNvSpPr>
            <a:spLocks noGrp="1"/>
          </p:cNvSpPr>
          <p:nvPr>
            <p:ph idx="1"/>
          </p:nvPr>
        </p:nvSpPr>
        <p:spPr>
          <a:xfrm>
            <a:off x="310624" y="1604973"/>
            <a:ext cx="5163413" cy="5127521"/>
          </a:xfrm>
        </p:spPr>
        <p:txBody>
          <a:bodyPr>
            <a:normAutofit/>
          </a:bodyPr>
          <a:lstStyle/>
          <a:p>
            <a:pPr lvl="0">
              <a:lnSpc>
                <a:spcPct val="150000"/>
              </a:lnSpc>
            </a:pPr>
            <a:r>
              <a:rPr lang="en-AU" sz="3200" dirty="0">
                <a:effectLst/>
                <a:latin typeface="Arial" panose="020B0604020202020204" pitchFamily="34" charset="0"/>
                <a:ea typeface="Calibri" panose="020F0502020204030204" pitchFamily="34" charset="0"/>
                <a:cs typeface="Times New Roman" panose="02020603050405020304" pitchFamily="18" charset="0"/>
              </a:rPr>
              <a:t>Engagement</a:t>
            </a:r>
            <a:endParaRPr lang="en-AU" sz="3200" dirty="0">
              <a:effectLst/>
              <a:latin typeface="Calibri" panose="020F0502020204030204" pitchFamily="34" charset="0"/>
              <a:ea typeface="Calibri" panose="020F0502020204030204" pitchFamily="34" charset="0"/>
              <a:cs typeface="Times New Roman" panose="02020603050405020304" pitchFamily="18" charset="0"/>
            </a:endParaRPr>
          </a:p>
          <a:p>
            <a:pPr lvl="0">
              <a:lnSpc>
                <a:spcPct val="150000"/>
              </a:lnSpc>
            </a:pPr>
            <a:r>
              <a:rPr lang="en-AU" sz="3200" dirty="0">
                <a:effectLst/>
                <a:latin typeface="Arial" panose="020B0604020202020204" pitchFamily="34" charset="0"/>
                <a:ea typeface="Calibri" panose="020F0502020204030204" pitchFamily="34" charset="0"/>
                <a:cs typeface="Times New Roman" panose="02020603050405020304" pitchFamily="18" charset="0"/>
              </a:rPr>
              <a:t>Performance Scorecard</a:t>
            </a:r>
            <a:endParaRPr lang="en-AU" sz="3200" dirty="0">
              <a:effectLst/>
              <a:latin typeface="Calibri" panose="020F0502020204030204" pitchFamily="34" charset="0"/>
              <a:ea typeface="Calibri" panose="020F0502020204030204" pitchFamily="34" charset="0"/>
              <a:cs typeface="Times New Roman" panose="02020603050405020304" pitchFamily="18" charset="0"/>
            </a:endParaRPr>
          </a:p>
          <a:p>
            <a:pPr lvl="0">
              <a:lnSpc>
                <a:spcPct val="150000"/>
              </a:lnSpc>
            </a:pPr>
            <a:r>
              <a:rPr lang="en-AU" sz="3200" dirty="0">
                <a:effectLst/>
                <a:latin typeface="Arial" panose="020B0604020202020204" pitchFamily="34" charset="0"/>
                <a:ea typeface="Calibri" panose="020F0502020204030204" pitchFamily="34" charset="0"/>
                <a:cs typeface="Times New Roman" panose="02020603050405020304" pitchFamily="18" charset="0"/>
              </a:rPr>
              <a:t>Management System</a:t>
            </a:r>
            <a:endParaRPr lang="en-AU" sz="3200" dirty="0">
              <a:effectLst/>
              <a:latin typeface="Calibri" panose="020F0502020204030204" pitchFamily="34" charset="0"/>
              <a:ea typeface="Calibri" panose="020F0502020204030204" pitchFamily="34" charset="0"/>
              <a:cs typeface="Times New Roman" panose="02020603050405020304" pitchFamily="18" charset="0"/>
            </a:endParaRPr>
          </a:p>
          <a:p>
            <a:pPr lvl="0">
              <a:lnSpc>
                <a:spcPct val="150000"/>
              </a:lnSpc>
            </a:pPr>
            <a:r>
              <a:rPr lang="en-AU" sz="3200" dirty="0">
                <a:effectLst/>
                <a:latin typeface="Arial" panose="020B0604020202020204" pitchFamily="34" charset="0"/>
                <a:ea typeface="Calibri" panose="020F0502020204030204" pitchFamily="34" charset="0"/>
                <a:cs typeface="Times New Roman" panose="02020603050405020304" pitchFamily="18" charset="0"/>
              </a:rPr>
              <a:t>Governance Forums</a:t>
            </a:r>
            <a:endParaRPr lang="en-AU" sz="3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pPr>
            <a:r>
              <a:rPr lang="en-AU" sz="3200" dirty="0">
                <a:effectLst/>
                <a:latin typeface="Arial" panose="020B0604020202020204" pitchFamily="34" charset="0"/>
                <a:ea typeface="Calibri" panose="020F0502020204030204" pitchFamily="34" charset="0"/>
              </a:rPr>
              <a:t>Learning Forums</a:t>
            </a:r>
            <a:r>
              <a:rPr lang="en-AU" sz="3200" dirty="0">
                <a:effectLst/>
              </a:rPr>
              <a:t> </a:t>
            </a:r>
            <a:endParaRPr lang="en-US" sz="3200" dirty="0"/>
          </a:p>
        </p:txBody>
      </p:sp>
      <p:sp>
        <p:nvSpPr>
          <p:cNvPr id="2" name="Text Placeholder 1">
            <a:extLst>
              <a:ext uri="{FF2B5EF4-FFF2-40B4-BE49-F238E27FC236}">
                <a16:creationId xmlns:a16="http://schemas.microsoft.com/office/drawing/2014/main" id="{365EC802-2ACB-04A7-DA56-6BF6DC279517}"/>
              </a:ext>
            </a:extLst>
          </p:cNvPr>
          <p:cNvSpPr>
            <a:spLocks noGrp="1"/>
          </p:cNvSpPr>
          <p:nvPr>
            <p:ph type="body" sz="quarter" idx="10"/>
          </p:nvPr>
        </p:nvSpPr>
        <p:spPr/>
        <p:txBody>
          <a:bodyPr/>
          <a:lstStyle/>
          <a:p>
            <a:r>
              <a:rPr lang="en-AU" dirty="0"/>
              <a:t>How new requirements implemented and sustained</a:t>
            </a:r>
            <a:endParaRPr lang="en-US" dirty="0"/>
          </a:p>
        </p:txBody>
      </p:sp>
      <p:sp>
        <p:nvSpPr>
          <p:cNvPr id="5" name="Text Placeholder 4">
            <a:extLst>
              <a:ext uri="{FF2B5EF4-FFF2-40B4-BE49-F238E27FC236}">
                <a16:creationId xmlns:a16="http://schemas.microsoft.com/office/drawing/2014/main" id="{84AE4E7F-9740-0B6F-8B04-B324A4D89AB0}"/>
              </a:ext>
            </a:extLst>
          </p:cNvPr>
          <p:cNvSpPr>
            <a:spLocks noGrp="1"/>
          </p:cNvSpPr>
          <p:nvPr>
            <p:ph type="body" sz="quarter" idx="11"/>
          </p:nvPr>
        </p:nvSpPr>
        <p:spPr/>
        <p:txBody>
          <a:bodyPr/>
          <a:lstStyle/>
          <a:p>
            <a:endParaRPr lang="en-US"/>
          </a:p>
        </p:txBody>
      </p:sp>
      <p:sp>
        <p:nvSpPr>
          <p:cNvPr id="3" name="Title 2">
            <a:extLst>
              <a:ext uri="{FF2B5EF4-FFF2-40B4-BE49-F238E27FC236}">
                <a16:creationId xmlns:a16="http://schemas.microsoft.com/office/drawing/2014/main" id="{94FD6497-5032-AF1D-5AFE-B861E74A2B48}"/>
              </a:ext>
            </a:extLst>
          </p:cNvPr>
          <p:cNvSpPr>
            <a:spLocks noGrp="1"/>
          </p:cNvSpPr>
          <p:nvPr>
            <p:ph type="title"/>
          </p:nvPr>
        </p:nvSpPr>
        <p:spPr/>
        <p:txBody>
          <a:bodyPr/>
          <a:lstStyle/>
          <a:p>
            <a:r>
              <a:rPr lang="en-AU" dirty="0"/>
              <a:t>Change Management</a:t>
            </a:r>
            <a:endParaRPr lang="en-US" dirty="0"/>
          </a:p>
        </p:txBody>
      </p:sp>
      <p:pic>
        <p:nvPicPr>
          <p:cNvPr id="8" name="Picture 7">
            <a:extLst>
              <a:ext uri="{FF2B5EF4-FFF2-40B4-BE49-F238E27FC236}">
                <a16:creationId xmlns:a16="http://schemas.microsoft.com/office/drawing/2014/main" id="{927CAB27-8A7B-E33B-314B-7CB7EA0900D7}"/>
              </a:ext>
            </a:extLst>
          </p:cNvPr>
          <p:cNvPicPr>
            <a:picLocks noChangeAspect="1"/>
          </p:cNvPicPr>
          <p:nvPr/>
        </p:nvPicPr>
        <p:blipFill>
          <a:blip r:embed="rId2"/>
          <a:stretch>
            <a:fillRect/>
          </a:stretch>
        </p:blipFill>
        <p:spPr>
          <a:xfrm>
            <a:off x="6340006" y="2280146"/>
            <a:ext cx="5347101" cy="2525931"/>
          </a:xfrm>
          <a:prstGeom prst="rect">
            <a:avLst/>
          </a:prstGeom>
        </p:spPr>
      </p:pic>
    </p:spTree>
    <p:extLst>
      <p:ext uri="{BB962C8B-B14F-4D97-AF65-F5344CB8AC3E}">
        <p14:creationId xmlns:p14="http://schemas.microsoft.com/office/powerpoint/2010/main" val="41882204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74B88FC-3A20-59DB-81AA-E3E71D5F6E60}"/>
              </a:ext>
            </a:extLst>
          </p:cNvPr>
          <p:cNvSpPr>
            <a:spLocks noGrp="1"/>
          </p:cNvSpPr>
          <p:nvPr>
            <p:ph idx="1"/>
          </p:nvPr>
        </p:nvSpPr>
        <p:spPr>
          <a:xfrm>
            <a:off x="390222" y="1380803"/>
            <a:ext cx="5163413" cy="5351691"/>
          </a:xfrm>
        </p:spPr>
        <p:txBody>
          <a:bodyPr>
            <a:normAutofit fontScale="77500" lnSpcReduction="20000"/>
          </a:bodyPr>
          <a:lstStyle/>
          <a:p>
            <a:pPr marL="0" lvl="0" indent="0">
              <a:buNone/>
            </a:pPr>
            <a:r>
              <a:rPr lang="en-AU" sz="1800" b="1" dirty="0">
                <a:effectLst/>
                <a:latin typeface="Arial" panose="020B0604020202020204" pitchFamily="34" charset="0"/>
                <a:ea typeface="Calibri" panose="020F0502020204030204" pitchFamily="34" charset="0"/>
                <a:cs typeface="Times New Roman" panose="02020603050405020304" pitchFamily="18" charset="0"/>
              </a:rPr>
              <a:t>Simplify: “We support people with easy to use and easy to understand systems”</a:t>
            </a:r>
            <a:endParaRPr lang="en-AU" sz="1800" dirty="0">
              <a:effectLst/>
              <a:latin typeface="Calibri" panose="020F0502020204030204" pitchFamily="34" charset="0"/>
              <a:ea typeface="Calibri" panose="020F0502020204030204" pitchFamily="34" charset="0"/>
              <a:cs typeface="Times New Roman" panose="02020603050405020304" pitchFamily="18" charset="0"/>
            </a:endParaRPr>
          </a:p>
          <a:p>
            <a:r>
              <a:rPr lang="en-AU"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 focus on simplification has ensured that the conformance requirements are clear, including the WHY, WHAT and HOW.  </a:t>
            </a:r>
            <a:endParaRPr lang="en-AU"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r>
              <a:rPr lang="en-AU" sz="1800" b="1" dirty="0">
                <a:effectLst/>
                <a:latin typeface="Arial" panose="020B0604020202020204" pitchFamily="34" charset="0"/>
                <a:ea typeface="Calibri" panose="020F0502020204030204" pitchFamily="34" charset="0"/>
                <a:cs typeface="Times New Roman" panose="02020603050405020304" pitchFamily="18" charset="0"/>
              </a:rPr>
              <a:t>Get the Fundamentals Right: “We define the minimum expectations.  We are excellent at the fundamentals”</a:t>
            </a:r>
            <a:endParaRPr lang="en-AU" sz="1800" dirty="0">
              <a:effectLst/>
              <a:latin typeface="Calibri" panose="020F0502020204030204" pitchFamily="34" charset="0"/>
              <a:ea typeface="Calibri" panose="020F0502020204030204" pitchFamily="34" charset="0"/>
              <a:cs typeface="Times New Roman" panose="02020603050405020304" pitchFamily="18" charset="0"/>
            </a:endParaRPr>
          </a:p>
          <a:p>
            <a:r>
              <a:rPr lang="en-AU"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lear minimum standards ensured that operational discipline can be monitored, and expectations reinforced.</a:t>
            </a:r>
            <a:endParaRPr lang="en-AU" sz="1800" dirty="0">
              <a:effectLst/>
              <a:latin typeface="Calibri" panose="020F0502020204030204" pitchFamily="34" charset="0"/>
              <a:ea typeface="Calibri" panose="020F0502020204030204" pitchFamily="34" charset="0"/>
              <a:cs typeface="Times New Roman" panose="02020603050405020304" pitchFamily="18" charset="0"/>
            </a:endParaRPr>
          </a:p>
          <a:p>
            <a:pPr lvl="0"/>
            <a:endParaRPr lang="en-AU" sz="1300" b="1" dirty="0">
              <a:effectLst/>
              <a:latin typeface="Arial" panose="020B0604020202020204" pitchFamily="34" charset="0"/>
              <a:ea typeface="Calibri" panose="020F0502020204030204" pitchFamily="34" charset="0"/>
              <a:cs typeface="Times New Roman" panose="02020603050405020304" pitchFamily="18" charset="0"/>
            </a:endParaRPr>
          </a:p>
          <a:p>
            <a:pPr marL="0" lvl="0" indent="0">
              <a:buNone/>
            </a:pPr>
            <a:r>
              <a:rPr lang="en-AU" sz="1800" b="1" dirty="0">
                <a:effectLst/>
                <a:latin typeface="Arial" panose="020B0604020202020204" pitchFamily="34" charset="0"/>
                <a:ea typeface="Calibri" panose="020F0502020204030204" pitchFamily="34" charset="0"/>
                <a:cs typeface="Times New Roman" panose="02020603050405020304" pitchFamily="18" charset="0"/>
              </a:rPr>
              <a:t>Lead and Engage: “We empower and develop and expect everyone to be leaders in Zero Harm”</a:t>
            </a:r>
            <a:endParaRPr lang="en-AU" sz="1800" dirty="0">
              <a:effectLst/>
              <a:latin typeface="Calibri" panose="020F0502020204030204" pitchFamily="34" charset="0"/>
              <a:ea typeface="Calibri" panose="020F0502020204030204" pitchFamily="34" charset="0"/>
              <a:cs typeface="Times New Roman" panose="02020603050405020304" pitchFamily="18" charset="0"/>
            </a:endParaRPr>
          </a:p>
          <a:p>
            <a:r>
              <a:rPr lang="en-AU"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eaders are involved at all levels of the organisation in monitoring the key performance metrics associated with event management including investigation review, management review, business unit learning forums, Executive Team Zero Harm Committees and HSEC Committee of the IPL Board.</a:t>
            </a:r>
            <a:endParaRPr lang="en-AU"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AU" sz="13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r>
              <a:rPr lang="en-AU" sz="1800" b="1" dirty="0">
                <a:effectLst/>
                <a:latin typeface="Arial" panose="020B0604020202020204" pitchFamily="34" charset="0"/>
                <a:ea typeface="Calibri" panose="020F0502020204030204" pitchFamily="34" charset="0"/>
                <a:cs typeface="Times New Roman" panose="02020603050405020304" pitchFamily="18" charset="0"/>
              </a:rPr>
              <a:t>Strengthen our Learning Culture: “We learn, we share, we fix for good”</a:t>
            </a:r>
            <a:endParaRPr lang="en-AU" sz="1800" dirty="0">
              <a:effectLst/>
              <a:latin typeface="Calibri" panose="020F0502020204030204" pitchFamily="34" charset="0"/>
              <a:ea typeface="Calibri" panose="020F0502020204030204" pitchFamily="34" charset="0"/>
              <a:cs typeface="Times New Roman" panose="02020603050405020304" pitchFamily="18" charset="0"/>
            </a:endParaRPr>
          </a:p>
          <a:p>
            <a:r>
              <a:rPr lang="en-AU" sz="1800" dirty="0">
                <a:effectLst/>
                <a:latin typeface="Arial" panose="020B0604020202020204" pitchFamily="34" charset="0"/>
                <a:ea typeface="Calibri" panose="020F0502020204030204" pitchFamily="34" charset="0"/>
                <a:cs typeface="Times New Roman" panose="02020603050405020304" pitchFamily="18" charset="0"/>
              </a:rPr>
              <a:t>Regional and global learning forums create an environment of “SafeGround” where Zero Harm leaders openly share learnings from events and determine actions at local and organisational level which embed learnings into site and organisational standards and processes.</a:t>
            </a:r>
            <a:endParaRPr lang="en-AU"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365EC802-2ACB-04A7-DA56-6BF6DC279517}"/>
              </a:ext>
            </a:extLst>
          </p:cNvPr>
          <p:cNvSpPr>
            <a:spLocks noGrp="1"/>
          </p:cNvSpPr>
          <p:nvPr>
            <p:ph type="body" sz="quarter" idx="10"/>
          </p:nvPr>
        </p:nvSpPr>
        <p:spPr/>
        <p:txBody>
          <a:bodyPr>
            <a:normAutofit/>
          </a:bodyPr>
          <a:lstStyle/>
          <a:p>
            <a:pPr lvl="0"/>
            <a:r>
              <a:rPr lang="en-AU" sz="1800" dirty="0">
                <a:solidFill>
                  <a:srgbClr val="000000"/>
                </a:solidFill>
                <a:latin typeface="Arial" panose="020B0604020202020204" pitchFamily="34" charset="0"/>
                <a:ea typeface="Calibri" panose="020F0502020204030204" pitchFamily="34" charset="0"/>
                <a:cs typeface="Times New Roman" panose="02020603050405020304" pitchFamily="18" charset="0"/>
              </a:rPr>
              <a:t>Leading indicators are improving</a:t>
            </a:r>
            <a:endParaRPr lang="en-AU"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5" name="Text Placeholder 4">
            <a:extLst>
              <a:ext uri="{FF2B5EF4-FFF2-40B4-BE49-F238E27FC236}">
                <a16:creationId xmlns:a16="http://schemas.microsoft.com/office/drawing/2014/main" id="{81186F06-DACB-8390-FF4B-B7CFEE73F918}"/>
              </a:ext>
            </a:extLst>
          </p:cNvPr>
          <p:cNvSpPr>
            <a:spLocks noGrp="1"/>
          </p:cNvSpPr>
          <p:nvPr>
            <p:ph type="body" sz="quarter" idx="11"/>
          </p:nvPr>
        </p:nvSpPr>
        <p:spPr>
          <a:xfrm>
            <a:off x="7310103" y="1479166"/>
            <a:ext cx="4659807" cy="5140824"/>
          </a:xfrm>
        </p:spPr>
        <p:txBody>
          <a:bodyPr>
            <a:normAutofit/>
          </a:bodyPr>
          <a:lstStyle/>
          <a:p>
            <a:pPr marL="0" lvl="0" indent="0">
              <a:buNone/>
            </a:pPr>
            <a:r>
              <a:rPr lang="en-AU"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trong reporting culture</a:t>
            </a:r>
            <a:endParaRPr lang="en-AU" sz="2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endParaRPr lang="en-AU"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marL="0" lvl="0" indent="0">
              <a:buNone/>
            </a:pPr>
            <a:r>
              <a:rPr lang="en-AU"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Hazard &amp; Near Miss to Incident reporting ratio improved</a:t>
            </a:r>
            <a:endParaRPr lang="en-AU" sz="2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endParaRPr lang="en-AU" sz="28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0" lvl="0" indent="0">
              <a:buNone/>
            </a:pPr>
            <a:r>
              <a:rPr lang="en-AU" sz="2800" dirty="0">
                <a:solidFill>
                  <a:srgbClr val="000000"/>
                </a:solidFill>
                <a:latin typeface="Arial" panose="020B0604020202020204" pitchFamily="34" charset="0"/>
                <a:ea typeface="Calibri" panose="020F0502020204030204" pitchFamily="34" charset="0"/>
                <a:cs typeface="Arial" panose="020B0604020202020204" pitchFamily="34" charset="0"/>
              </a:rPr>
              <a:t>Hazard awareness</a:t>
            </a:r>
          </a:p>
          <a:p>
            <a:pPr marL="0" lvl="0" indent="0">
              <a:buNone/>
            </a:pPr>
            <a:endParaRPr lang="en-AU" sz="28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0" lvl="0" indent="0">
              <a:buNone/>
            </a:pPr>
            <a:r>
              <a:rPr lang="en-AU" sz="2800" dirty="0">
                <a:solidFill>
                  <a:srgbClr val="000000"/>
                </a:solidFill>
                <a:latin typeface="Arial" panose="020B0604020202020204" pitchFamily="34" charset="0"/>
                <a:ea typeface="Calibri" panose="020F0502020204030204" pitchFamily="34" charset="0"/>
                <a:cs typeface="Arial" panose="020B0604020202020204" pitchFamily="34" charset="0"/>
              </a:rPr>
              <a:t>High level of operational discipline</a:t>
            </a:r>
            <a:endParaRPr lang="en-AU" sz="2800" dirty="0">
              <a:effectLst/>
              <a:latin typeface="Arial" panose="020B0604020202020204" pitchFamily="34" charset="0"/>
              <a:ea typeface="Calibri" panose="020F0502020204030204" pitchFamily="34" charset="0"/>
              <a:cs typeface="Arial" panose="020B0604020202020204" pitchFamily="34" charset="0"/>
            </a:endParaRPr>
          </a:p>
        </p:txBody>
      </p:sp>
      <p:sp>
        <p:nvSpPr>
          <p:cNvPr id="3" name="Title 2">
            <a:extLst>
              <a:ext uri="{FF2B5EF4-FFF2-40B4-BE49-F238E27FC236}">
                <a16:creationId xmlns:a16="http://schemas.microsoft.com/office/drawing/2014/main" id="{94FD6497-5032-AF1D-5AFE-B861E74A2B48}"/>
              </a:ext>
            </a:extLst>
          </p:cNvPr>
          <p:cNvSpPr>
            <a:spLocks noGrp="1"/>
          </p:cNvSpPr>
          <p:nvPr>
            <p:ph type="title"/>
          </p:nvPr>
        </p:nvSpPr>
        <p:spPr/>
        <p:txBody>
          <a:bodyPr/>
          <a:lstStyle/>
          <a:p>
            <a:r>
              <a:rPr lang="en-AU" dirty="0"/>
              <a:t>Results to date</a:t>
            </a:r>
            <a:endParaRPr lang="en-US" dirty="0"/>
          </a:p>
        </p:txBody>
      </p:sp>
      <p:sp>
        <p:nvSpPr>
          <p:cNvPr id="6" name="Plus Sign 5">
            <a:extLst>
              <a:ext uri="{FF2B5EF4-FFF2-40B4-BE49-F238E27FC236}">
                <a16:creationId xmlns:a16="http://schemas.microsoft.com/office/drawing/2014/main" id="{FEBD34C8-8004-F6A8-DC76-77A9523369BC}"/>
              </a:ext>
            </a:extLst>
          </p:cNvPr>
          <p:cNvSpPr/>
          <p:nvPr/>
        </p:nvSpPr>
        <p:spPr>
          <a:xfrm>
            <a:off x="5944606" y="1262543"/>
            <a:ext cx="1085770" cy="108577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lus Sign 6">
            <a:extLst>
              <a:ext uri="{FF2B5EF4-FFF2-40B4-BE49-F238E27FC236}">
                <a16:creationId xmlns:a16="http://schemas.microsoft.com/office/drawing/2014/main" id="{30D29CC4-B6ED-4A4F-A9C6-D42FB14E5119}"/>
              </a:ext>
            </a:extLst>
          </p:cNvPr>
          <p:cNvSpPr/>
          <p:nvPr/>
        </p:nvSpPr>
        <p:spPr>
          <a:xfrm>
            <a:off x="5944606" y="2539959"/>
            <a:ext cx="1085770" cy="108577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us Sign 7">
            <a:extLst>
              <a:ext uri="{FF2B5EF4-FFF2-40B4-BE49-F238E27FC236}">
                <a16:creationId xmlns:a16="http://schemas.microsoft.com/office/drawing/2014/main" id="{397F337B-53BD-40A9-9237-31BD363A18F4}"/>
              </a:ext>
            </a:extLst>
          </p:cNvPr>
          <p:cNvSpPr/>
          <p:nvPr/>
        </p:nvSpPr>
        <p:spPr>
          <a:xfrm>
            <a:off x="5944606" y="4049578"/>
            <a:ext cx="1085770" cy="108577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us Sign 8">
            <a:extLst>
              <a:ext uri="{FF2B5EF4-FFF2-40B4-BE49-F238E27FC236}">
                <a16:creationId xmlns:a16="http://schemas.microsoft.com/office/drawing/2014/main" id="{CF383EBC-E77B-4D70-B601-080B0A080D5E}"/>
              </a:ext>
            </a:extLst>
          </p:cNvPr>
          <p:cNvSpPr/>
          <p:nvPr/>
        </p:nvSpPr>
        <p:spPr>
          <a:xfrm>
            <a:off x="5944606" y="5327466"/>
            <a:ext cx="1085770" cy="108577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0874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74B88FC-3A20-59DB-81AA-E3E71D5F6E60}"/>
              </a:ext>
            </a:extLst>
          </p:cNvPr>
          <p:cNvSpPr>
            <a:spLocks noGrp="1"/>
          </p:cNvSpPr>
          <p:nvPr>
            <p:ph idx="1"/>
          </p:nvPr>
        </p:nvSpPr>
        <p:spPr>
          <a:xfrm>
            <a:off x="4222865" y="1729314"/>
            <a:ext cx="7658511" cy="5128686"/>
          </a:xfrm>
        </p:spPr>
        <p:txBody>
          <a:bodyPr>
            <a:normAutofit/>
          </a:bodyPr>
          <a:lstStyle/>
          <a:p>
            <a:r>
              <a:rPr lang="en-US" sz="2800" dirty="0"/>
              <a:t>Clarity on what events are important to the organization</a:t>
            </a:r>
          </a:p>
          <a:p>
            <a:r>
              <a:rPr lang="en-US" sz="2800" dirty="0"/>
              <a:t>Increased focus and visibility of the highest consequence events</a:t>
            </a:r>
          </a:p>
          <a:p>
            <a:r>
              <a:rPr lang="en-US" sz="2800" dirty="0"/>
              <a:t>Controls to prevent significant harm shared and embedded</a:t>
            </a:r>
          </a:p>
          <a:p>
            <a:r>
              <a:rPr lang="en-US" sz="2800" dirty="0"/>
              <a:t>Learning culture built on psychological safety</a:t>
            </a:r>
          </a:p>
          <a:p>
            <a:r>
              <a:rPr lang="en-US" sz="2800" dirty="0"/>
              <a:t>Success is measured by the number of hazards and near misses reported, investigated, actions closed, and incidents shared</a:t>
            </a:r>
          </a:p>
          <a:p>
            <a:endParaRPr lang="en-US" sz="2800" dirty="0"/>
          </a:p>
        </p:txBody>
      </p:sp>
      <p:sp>
        <p:nvSpPr>
          <p:cNvPr id="2" name="Text Placeholder 1">
            <a:extLst>
              <a:ext uri="{FF2B5EF4-FFF2-40B4-BE49-F238E27FC236}">
                <a16:creationId xmlns:a16="http://schemas.microsoft.com/office/drawing/2014/main" id="{365EC802-2ACB-04A7-DA56-6BF6DC279517}"/>
              </a:ext>
            </a:extLst>
          </p:cNvPr>
          <p:cNvSpPr>
            <a:spLocks noGrp="1"/>
          </p:cNvSpPr>
          <p:nvPr>
            <p:ph type="body" sz="quarter" idx="10"/>
          </p:nvPr>
        </p:nvSpPr>
        <p:spPr/>
        <p:txBody>
          <a:bodyPr/>
          <a:lstStyle/>
          <a:p>
            <a:r>
              <a:rPr lang="en-US" dirty="0"/>
              <a:t>Embedding a process of learning, sharing, and fixing for good</a:t>
            </a:r>
          </a:p>
        </p:txBody>
      </p:sp>
      <p:sp>
        <p:nvSpPr>
          <p:cNvPr id="3" name="Title 2">
            <a:extLst>
              <a:ext uri="{FF2B5EF4-FFF2-40B4-BE49-F238E27FC236}">
                <a16:creationId xmlns:a16="http://schemas.microsoft.com/office/drawing/2014/main" id="{94FD6497-5032-AF1D-5AFE-B861E74A2B48}"/>
              </a:ext>
            </a:extLst>
          </p:cNvPr>
          <p:cNvSpPr>
            <a:spLocks noGrp="1"/>
          </p:cNvSpPr>
          <p:nvPr>
            <p:ph type="title"/>
          </p:nvPr>
        </p:nvSpPr>
        <p:spPr/>
        <p:txBody>
          <a:bodyPr/>
          <a:lstStyle/>
          <a:p>
            <a:r>
              <a:rPr lang="en-US" dirty="0"/>
              <a:t>Conclusion</a:t>
            </a:r>
          </a:p>
        </p:txBody>
      </p:sp>
      <p:pic>
        <p:nvPicPr>
          <p:cNvPr id="6" name="Picture 5">
            <a:extLst>
              <a:ext uri="{FF2B5EF4-FFF2-40B4-BE49-F238E27FC236}">
                <a16:creationId xmlns:a16="http://schemas.microsoft.com/office/drawing/2014/main" id="{6F70D5A0-5568-4D82-8F1A-06BD255AD3F2}"/>
              </a:ext>
            </a:extLst>
          </p:cNvPr>
          <p:cNvPicPr>
            <a:picLocks noChangeAspect="1"/>
          </p:cNvPicPr>
          <p:nvPr/>
        </p:nvPicPr>
        <p:blipFill>
          <a:blip r:embed="rId2"/>
          <a:stretch>
            <a:fillRect/>
          </a:stretch>
        </p:blipFill>
        <p:spPr>
          <a:xfrm>
            <a:off x="606829" y="1533293"/>
            <a:ext cx="3116407" cy="4825404"/>
          </a:xfrm>
          <a:prstGeom prst="rect">
            <a:avLst/>
          </a:prstGeom>
        </p:spPr>
      </p:pic>
    </p:spTree>
    <p:extLst>
      <p:ext uri="{BB962C8B-B14F-4D97-AF65-F5344CB8AC3E}">
        <p14:creationId xmlns:p14="http://schemas.microsoft.com/office/powerpoint/2010/main" val="15913848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FFF2F8A-9E7D-4BAB-AAE2-29DF2B64D48E}"/>
              </a:ext>
            </a:extLst>
          </p:cNvPr>
          <p:cNvSpPr>
            <a:spLocks noGrp="1"/>
          </p:cNvSpPr>
          <p:nvPr>
            <p:ph type="body" sz="quarter" idx="10"/>
          </p:nvPr>
        </p:nvSpPr>
        <p:spPr/>
        <p:txBody>
          <a:bodyPr/>
          <a:lstStyle/>
          <a:p>
            <a:endParaRPr lang="en-AU" dirty="0"/>
          </a:p>
        </p:txBody>
      </p:sp>
      <p:sp>
        <p:nvSpPr>
          <p:cNvPr id="4" name="Title 3">
            <a:extLst>
              <a:ext uri="{FF2B5EF4-FFF2-40B4-BE49-F238E27FC236}">
                <a16:creationId xmlns:a16="http://schemas.microsoft.com/office/drawing/2014/main" id="{187847F9-52AC-42EE-8E28-8AF04E2110AF}"/>
              </a:ext>
            </a:extLst>
          </p:cNvPr>
          <p:cNvSpPr>
            <a:spLocks noGrp="1"/>
          </p:cNvSpPr>
          <p:nvPr>
            <p:ph type="title"/>
          </p:nvPr>
        </p:nvSpPr>
        <p:spPr/>
        <p:txBody>
          <a:bodyPr/>
          <a:lstStyle/>
          <a:p>
            <a:r>
              <a:rPr lang="en-AU" dirty="0"/>
              <a:t>Questions</a:t>
            </a:r>
          </a:p>
        </p:txBody>
      </p:sp>
      <p:sp>
        <p:nvSpPr>
          <p:cNvPr id="7" name="Content Placeholder 6">
            <a:extLst>
              <a:ext uri="{FF2B5EF4-FFF2-40B4-BE49-F238E27FC236}">
                <a16:creationId xmlns:a16="http://schemas.microsoft.com/office/drawing/2014/main" id="{2C0A24B6-323B-4D6B-8378-0B4B10AC4F15}"/>
              </a:ext>
            </a:extLst>
          </p:cNvPr>
          <p:cNvSpPr>
            <a:spLocks noGrp="1"/>
          </p:cNvSpPr>
          <p:nvPr>
            <p:ph idx="1"/>
          </p:nvPr>
        </p:nvSpPr>
        <p:spPr>
          <a:xfrm>
            <a:off x="390222" y="3009206"/>
            <a:ext cx="11491154" cy="3501131"/>
          </a:xfrm>
        </p:spPr>
        <p:txBody>
          <a:bodyPr>
            <a:normAutofit/>
          </a:bodyPr>
          <a:lstStyle/>
          <a:p>
            <a:pPr marL="0" indent="0" algn="ctr">
              <a:buNone/>
            </a:pPr>
            <a:r>
              <a:rPr lang="en-AU" sz="9600" dirty="0">
                <a:solidFill>
                  <a:schemeClr val="accent3">
                    <a:lumMod val="75000"/>
                  </a:schemeClr>
                </a:solidFill>
              </a:rPr>
              <a:t>?????</a:t>
            </a:r>
          </a:p>
        </p:txBody>
      </p:sp>
    </p:spTree>
    <p:extLst>
      <p:ext uri="{BB962C8B-B14F-4D97-AF65-F5344CB8AC3E}">
        <p14:creationId xmlns:p14="http://schemas.microsoft.com/office/powerpoint/2010/main" val="3652290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n058fSDStGtMu0wMKXiAw"/>
</p:tagLst>
</file>

<file path=ppt/theme/theme1.xml><?xml version="1.0" encoding="utf-8"?>
<a:theme xmlns:a="http://schemas.openxmlformats.org/drawingml/2006/main" name="1_Office Theme">
  <a:themeElements>
    <a:clrScheme name="IPL">
      <a:dk1>
        <a:srgbClr val="000000"/>
      </a:dk1>
      <a:lt1>
        <a:srgbClr val="FFFFFF"/>
      </a:lt1>
      <a:dk2>
        <a:srgbClr val="424242"/>
      </a:dk2>
      <a:lt2>
        <a:srgbClr val="EAEAEA"/>
      </a:lt2>
      <a:accent1>
        <a:srgbClr val="B9A779"/>
      </a:accent1>
      <a:accent2>
        <a:srgbClr val="007C85"/>
      </a:accent2>
      <a:accent3>
        <a:srgbClr val="CFC2A1"/>
      </a:accent3>
      <a:accent4>
        <a:srgbClr val="DFD6C1"/>
      </a:accent4>
      <a:accent5>
        <a:srgbClr val="339EA8"/>
      </a:accent5>
      <a:accent6>
        <a:srgbClr val="82BDC3"/>
      </a:accent6>
      <a:hlink>
        <a:srgbClr val="919191"/>
      </a:hlink>
      <a:folHlink>
        <a:srgbClr val="D9CEB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43</TotalTime>
  <Words>405</Words>
  <Application>Microsoft Office PowerPoint</Application>
  <PresentationFormat>Widescreen</PresentationFormat>
  <Paragraphs>51</Paragraphs>
  <Slides>7</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pple Symbols</vt:lpstr>
      <vt:lpstr>Arial</vt:lpstr>
      <vt:lpstr>Arial Black</vt:lpstr>
      <vt:lpstr>Calibri</vt:lpstr>
      <vt:lpstr>Cambria Math</vt:lpstr>
      <vt:lpstr>Dax</vt:lpstr>
      <vt:lpstr>Wingdings</vt:lpstr>
      <vt:lpstr>1_Office Theme</vt:lpstr>
      <vt:lpstr>think-cell Slide</vt:lpstr>
      <vt:lpstr>Preventing Serious Incidents  </vt:lpstr>
      <vt:lpstr>IPL Group Safety Strategy</vt:lpstr>
      <vt:lpstr>Significant Event Definition </vt:lpstr>
      <vt:lpstr>Change Management</vt:lpstr>
      <vt:lpstr>Results to date</vt:lpstr>
      <vt:lpstr>Conclusion</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SEOE Team Workshop</dc:title>
  <dc:creator>Annette Koy</dc:creator>
  <cp:lastModifiedBy>Stephenie De Nichilo</cp:lastModifiedBy>
  <cp:revision>20</cp:revision>
  <dcterms:created xsi:type="dcterms:W3CDTF">2022-10-09T00:41:22Z</dcterms:created>
  <dcterms:modified xsi:type="dcterms:W3CDTF">2022-11-19T20:53:11Z</dcterms:modified>
</cp:coreProperties>
</file>